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20"/>
  </p:notesMasterIdLst>
  <p:sldIdLst>
    <p:sldId id="676" r:id="rId6"/>
    <p:sldId id="1886" r:id="rId7"/>
    <p:sldId id="1660" r:id="rId8"/>
    <p:sldId id="280" r:id="rId9"/>
    <p:sldId id="1885" r:id="rId10"/>
    <p:sldId id="1883" r:id="rId11"/>
    <p:sldId id="1887" r:id="rId12"/>
    <p:sldId id="1888" r:id="rId13"/>
    <p:sldId id="1458" r:id="rId14"/>
    <p:sldId id="1415" r:id="rId15"/>
    <p:sldId id="1453" r:id="rId16"/>
    <p:sldId id="1412" r:id="rId17"/>
    <p:sldId id="260" r:id="rId18"/>
    <p:sldId id="25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9562205-EC3B-423A-9579-BFF90B9533C9}">
          <p14:sldIdLst>
            <p14:sldId id="676"/>
            <p14:sldId id="1886"/>
          </p14:sldIdLst>
        </p14:section>
        <p14:section name="AI" id="{7898BAA0-A185-4DC1-8DF9-4D10AD62132E}">
          <p14:sldIdLst>
            <p14:sldId id="1660"/>
            <p14:sldId id="280"/>
            <p14:sldId id="1885"/>
            <p14:sldId id="1883"/>
            <p14:sldId id="1887"/>
          </p14:sldIdLst>
        </p14:section>
        <p14:section name="AMLS" id="{63D0B969-A210-4945-9C40-3891657E93E8}">
          <p14:sldIdLst>
            <p14:sldId id="1888"/>
            <p14:sldId id="1458"/>
            <p14:sldId id="1415"/>
            <p14:sldId id="1453"/>
            <p14:sldId id="1412"/>
            <p14:sldId id="260"/>
            <p14:sldId id="2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832" autoAdjust="0"/>
  </p:normalViewPr>
  <p:slideViewPr>
    <p:cSldViewPr snapToGrid="0">
      <p:cViewPr varScale="1">
        <p:scale>
          <a:sx n="61" d="100"/>
          <a:sy n="61" d="100"/>
        </p:scale>
        <p:origin x="99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51685A-5BBC-42BC-9A0B-426B696DA65B}" type="datetimeFigureOut">
              <a:rPr lang="en-US" smtClean="0"/>
              <a:t>5/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EA989C-9C31-45C6-92C4-002CD2340103}" type="slidenum">
              <a:rPr lang="en-US" smtClean="0"/>
              <a:t>‹#›</a:t>
            </a:fld>
            <a:endParaRPr lang="en-US"/>
          </a:p>
        </p:txBody>
      </p:sp>
    </p:spTree>
    <p:extLst>
      <p:ext uri="{BB962C8B-B14F-4D97-AF65-F5344CB8AC3E}">
        <p14:creationId xmlns:p14="http://schemas.microsoft.com/office/powerpoint/2010/main" val="2476039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10"/>
          </p:nvPr>
        </p:nvSpPr>
        <p:spPr/>
        <p:txBody>
          <a:bodyPr/>
          <a:lstStyle/>
          <a:p>
            <a:fld id="{A5B258F2-B2E5-4175-B339-81AEE5988F5F}" type="slidenum">
              <a:rPr lang="en-US" smtClean="0"/>
              <a:pPr/>
              <a:t>1</a:t>
            </a:fld>
            <a:endParaRPr lang="en-US"/>
          </a:p>
        </p:txBody>
      </p:sp>
    </p:spTree>
    <p:extLst>
      <p:ext uri="{BB962C8B-B14F-4D97-AF65-F5344CB8AC3E}">
        <p14:creationId xmlns:p14="http://schemas.microsoft.com/office/powerpoint/2010/main" val="41984899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160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0927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Date Placeholder 7"/>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04E127-5AC7-4C65-9398-198CB5C7B8E2}"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019 12:35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5"/>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96994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dave@davewentzel.com demo</a:t>
            </a:r>
          </a:p>
          <a:p>
            <a:r>
              <a:rPr lang="en-US" dirty="0"/>
              <a:t>then do davew@Microsoft.com demo</a:t>
            </a:r>
          </a:p>
        </p:txBody>
      </p:sp>
      <p:sp>
        <p:nvSpPr>
          <p:cNvPr id="4" name="Slide Number Placeholder 3"/>
          <p:cNvSpPr>
            <a:spLocks noGrp="1"/>
          </p:cNvSpPr>
          <p:nvPr>
            <p:ph type="sldNum" sz="quarter" idx="5"/>
          </p:nvPr>
        </p:nvSpPr>
        <p:spPr/>
        <p:txBody>
          <a:bodyPr/>
          <a:lstStyle/>
          <a:p>
            <a:fld id="{74EA989C-9C31-45C6-92C4-002CD2340103}" type="slidenum">
              <a:rPr lang="en-US" smtClean="0"/>
              <a:t>14</a:t>
            </a:fld>
            <a:endParaRPr lang="en-US"/>
          </a:p>
        </p:txBody>
      </p:sp>
    </p:spTree>
    <p:extLst>
      <p:ext uri="{BB962C8B-B14F-4D97-AF65-F5344CB8AC3E}">
        <p14:creationId xmlns:p14="http://schemas.microsoft.com/office/powerpoint/2010/main" val="156884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a:t>what is azure?  </a:t>
            </a:r>
          </a:p>
          <a:p>
            <a:pPr lvl="0"/>
            <a:r>
              <a:rPr lang="en-US" sz="1200" dirty="0"/>
              <a:t>resource groups</a:t>
            </a:r>
          </a:p>
          <a:p>
            <a:pPr lvl="0"/>
            <a:endParaRPr lang="en-US" sz="1200" dirty="0"/>
          </a:p>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9964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5/8/2019 12: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
        <p:nvSpPr>
          <p:cNvPr id="3" name="Notes Placeholder 2">
            <a:extLst>
              <a:ext uri="{FF2B5EF4-FFF2-40B4-BE49-F238E27FC236}">
                <a16:creationId xmlns:a16="http://schemas.microsoft.com/office/drawing/2014/main" id="{4F59033E-0412-4A8E-A7B1-52B9FF8BC900}"/>
              </a:ext>
            </a:extLst>
          </p:cNvPr>
          <p:cNvSpPr>
            <a:spLocks noGrp="1"/>
          </p:cNvSpPr>
          <p:nvPr>
            <p:ph type="body" idx="1"/>
          </p:nvPr>
        </p:nvSpPr>
        <p:spPr/>
        <p:txBody>
          <a:bodyPr/>
          <a:lstStyle/>
          <a:p>
            <a:r>
              <a:rPr lang="en-US" dirty="0"/>
              <a:t>Any system that mimics human behavior</a:t>
            </a:r>
          </a:p>
          <a:p>
            <a:r>
              <a:rPr lang="en-US" dirty="0"/>
              <a:t>Decision trees</a:t>
            </a:r>
          </a:p>
          <a:p>
            <a:r>
              <a:rPr lang="en-US" dirty="0"/>
              <a:t>Expert systems</a:t>
            </a:r>
          </a:p>
          <a:p>
            <a:r>
              <a:rPr lang="en-US" dirty="0" err="1"/>
              <a:t>Msft</a:t>
            </a:r>
            <a:r>
              <a:rPr lang="en-US" dirty="0"/>
              <a:t> definition today</a:t>
            </a:r>
          </a:p>
          <a:p>
            <a:r>
              <a:rPr lang="en-US" dirty="0"/>
              <a:t>Ai winter due to hype, lack of data and compute</a:t>
            </a:r>
          </a:p>
          <a:p>
            <a:r>
              <a:rPr lang="en-US" dirty="0"/>
              <a:t>---</a:t>
            </a:r>
          </a:p>
          <a:p>
            <a:r>
              <a:rPr lang="en-US" dirty="0"/>
              <a:t>Data mining</a:t>
            </a:r>
          </a:p>
          <a:p>
            <a:r>
              <a:rPr lang="en-US" dirty="0"/>
              <a:t>And lots of data </a:t>
            </a:r>
          </a:p>
          <a:p>
            <a:r>
              <a:rPr lang="en-US" dirty="0"/>
              <a:t>Math to improve the data</a:t>
            </a:r>
          </a:p>
          <a:p>
            <a:r>
              <a:rPr lang="en-US" dirty="0"/>
              <a:t>Features and labels </a:t>
            </a:r>
          </a:p>
          <a:p>
            <a:r>
              <a:rPr lang="en-US" dirty="0"/>
              <a:t>---</a:t>
            </a:r>
          </a:p>
          <a:p>
            <a:r>
              <a:rPr lang="en-US" dirty="0"/>
              <a:t>Take a stack of </a:t>
            </a:r>
            <a:r>
              <a:rPr lang="en-US" dirty="0" err="1"/>
              <a:t>algos</a:t>
            </a:r>
            <a:r>
              <a:rPr lang="en-US" dirty="0"/>
              <a:t> and apply math</a:t>
            </a:r>
          </a:p>
          <a:p>
            <a:r>
              <a:rPr lang="en-US" dirty="0"/>
              <a:t>NNs</a:t>
            </a:r>
          </a:p>
          <a:p>
            <a:r>
              <a:rPr lang="en-US" dirty="0"/>
              <a:t>“layers”</a:t>
            </a:r>
          </a:p>
        </p:txBody>
      </p:sp>
    </p:spTree>
    <p:extLst>
      <p:ext uri="{BB962C8B-B14F-4D97-AF65-F5344CB8AC3E}">
        <p14:creationId xmlns:p14="http://schemas.microsoft.com/office/powerpoint/2010/main" val="1601089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780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8799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a:t>azure cognitive services</a:t>
            </a:r>
          </a:p>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6435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a:t>“plans” :  use free tier</a:t>
            </a:r>
          </a:p>
          <a:p>
            <a:pPr lvl="0"/>
            <a:r>
              <a:rPr lang="en-US" sz="1200" dirty="0"/>
              <a:t>text analytics</a:t>
            </a:r>
          </a:p>
          <a:p>
            <a:pPr lvl="0"/>
            <a:r>
              <a:rPr lang="en-US" sz="1200" dirty="0"/>
              <a:t>keys</a:t>
            </a:r>
          </a:p>
          <a:p>
            <a:pPr lvl="0"/>
            <a:r>
              <a:rPr lang="en-US" sz="1200" dirty="0"/>
              <a:t>endpoints</a:t>
            </a:r>
          </a:p>
          <a:p>
            <a:pPr lvl="0"/>
            <a:endParaRPr lang="en-US" sz="1200" dirty="0"/>
          </a:p>
          <a:p>
            <a:pPr lvl="0"/>
            <a:endParaRPr lang="en-US" sz="1200" dirty="0"/>
          </a:p>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4676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a:p>
            <a:pPr lvl="0"/>
            <a:endParaRPr lang="en-US" sz="1200" dirty="0"/>
          </a:p>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3372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2019 12:3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1018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jp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8988-D7A6-4152-8905-D934A3104A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A8DEC2-A903-4BCB-BEC0-283314B379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D3FA3C-605C-44E8-B431-0503B6587F2E}"/>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16DACB9C-57CC-4DEB-B700-0538D66218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F7DD11-E7EA-4F3A-A159-36891A271F43}"/>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2325641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FA925-6DB4-4738-8459-1F50C5107D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D8D73E-2D92-4A4A-B54A-89D4A522EB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7E7437-965F-4AC3-9315-C159CFBD8A1C}"/>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EB4D0337-3DBF-4A2D-AA31-A42DAEDDB7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508B50-5985-4AEA-BAC1-3B7235310ABD}"/>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957390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3B83FC-E8F4-4BB6-B195-6C97B2862D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076893E-34A4-4B6A-A4E5-085056F6325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1CBB64-02F5-46D0-86DD-46F1C5C4C8E7}"/>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34712018-F44F-43A6-B9AC-03BB8D39F0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18D331-B85E-4632-9521-E73FEED684D9}"/>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2714046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b="-15615"/>
          <a:stretch/>
        </p:blipFill>
        <p:spPr>
          <a:xfrm>
            <a:off x="-1" y="113"/>
            <a:ext cx="12192000" cy="7928743"/>
          </a:xfrm>
          <a:prstGeom prst="rect">
            <a:avLst/>
          </a:prstGeom>
        </p:spPr>
      </p:pic>
      <p:sp>
        <p:nvSpPr>
          <p:cNvPr id="12" name="Rectangle 11"/>
          <p:cNvSpPr/>
          <p:nvPr/>
        </p:nvSpPr>
        <p:spPr bwMode="gray">
          <a:xfrm>
            <a:off x="465737"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465737" y="2057400"/>
            <a:ext cx="5487829" cy="2340864"/>
          </a:xfrm>
          <a:noFill/>
        </p:spPr>
        <p:txBody>
          <a:bodyPr vert="horz" lIns="137160" tIns="182880" rIns="146304" bIns="91440" rtlCol="0" anchor="b" anchorCtr="0">
            <a:normAutofit/>
          </a:bodyPr>
          <a:lstStyle>
            <a:lvl1pPr>
              <a:defRPr lang="en-US" sz="7200" spc="-92" dirty="0">
                <a:solidFill>
                  <a:schemeClr val="tx1">
                    <a:lumMod val="75000"/>
                    <a:lumOff val="25000"/>
                  </a:schemeClr>
                </a:solidFill>
              </a:defRPr>
            </a:lvl1pPr>
          </a:lstStyle>
          <a:p>
            <a:pPr lvl="0"/>
            <a:r>
              <a:rPr lang="en-US"/>
              <a:t>Stories from the MTC</a:t>
            </a:r>
          </a:p>
        </p:txBody>
      </p:sp>
      <p:sp>
        <p:nvSpPr>
          <p:cNvPr id="4" name="Text Placeholder 3"/>
          <p:cNvSpPr>
            <a:spLocks noGrp="1"/>
          </p:cNvSpPr>
          <p:nvPr>
            <p:ph type="body" sz="quarter" idx="10" hasCustomPrompt="1"/>
          </p:nvPr>
        </p:nvSpPr>
        <p:spPr>
          <a:xfrm>
            <a:off x="465737" y="4498848"/>
            <a:ext cx="5487829" cy="1216152"/>
          </a:xfrm>
        </p:spPr>
        <p:txBody>
          <a:bodyPr lIns="137160" tIns="91440">
            <a:noAutofit/>
          </a:bodyPr>
          <a:lstStyle>
            <a:lvl1pPr marL="0" indent="0">
              <a:spcBef>
                <a:spcPts val="0"/>
              </a:spcBef>
              <a:buNone/>
              <a:defRPr sz="1875">
                <a:solidFill>
                  <a:schemeClr val="tx1">
                    <a:lumMod val="75000"/>
                    <a:lumOff val="25000"/>
                  </a:schemeClr>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EOU Name]</a:t>
            </a:r>
          </a:p>
          <a:p>
            <a:pPr lvl="0"/>
            <a:r>
              <a:rPr lang="en-US"/>
              <a:t>[MTC Location(s)]</a:t>
            </a:r>
          </a:p>
          <a:p>
            <a:pPr lvl="0"/>
            <a:r>
              <a:rPr lang="en-US"/>
              <a:t>[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059433" y="6071803"/>
            <a:ext cx="1943877" cy="669820"/>
          </a:xfrm>
          <a:prstGeom prst="rect">
            <a:avLst/>
          </a:prstGeom>
          <a:noFill/>
          <a:ln>
            <a:noFill/>
          </a:ln>
        </p:spPr>
      </p:pic>
      <p:pic>
        <p:nvPicPr>
          <p:cNvPr id="8" name="Picture 7">
            <a:extLst>
              <a:ext uri="{FF2B5EF4-FFF2-40B4-BE49-F238E27FC236}">
                <a16:creationId xmlns:a16="http://schemas.microsoft.com/office/drawing/2014/main" id="{FA55862A-45F9-45C7-BDBD-3C6E330668A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5737" y="464258"/>
            <a:ext cx="1593557" cy="1593142"/>
          </a:xfrm>
          <a:prstGeom prst="rect">
            <a:avLst/>
          </a:prstGeom>
        </p:spPr>
      </p:pic>
    </p:spTree>
    <p:extLst>
      <p:ext uri="{BB962C8B-B14F-4D97-AF65-F5344CB8AC3E}">
        <p14:creationId xmlns:p14="http://schemas.microsoft.com/office/powerpoint/2010/main" val="3846404848"/>
      </p:ext>
    </p:extLst>
  </p:cSld>
  <p:clrMapOvr>
    <a:masterClrMapping/>
  </p:clrMapOvr>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95441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621470"/>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621470"/>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7654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04271" y="-13243"/>
            <a:ext cx="12296270" cy="68790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
        <p:nvSpPr>
          <p:cNvPr id="9" name="Title 1"/>
          <p:cNvSpPr>
            <a:spLocks noGrp="1"/>
          </p:cNvSpPr>
          <p:nvPr>
            <p:ph type="title" hasCustomPrompt="1"/>
          </p:nvPr>
        </p:nvSpPr>
        <p:spPr bwMode="auto">
          <a:xfrm>
            <a:off x="269303" y="2084186"/>
            <a:ext cx="6276531" cy="1793104"/>
          </a:xfrm>
          <a:noFill/>
        </p:spPr>
        <p:txBody>
          <a:bodyPr lIns="146304" tIns="91440" rIns="146304" bIns="91440" anchor="t" anchorCtr="0"/>
          <a:lstStyle>
            <a:lvl1pPr>
              <a:defRPr sz="3970" spc="-74"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1" cy="1789991"/>
          </a:xfrm>
        </p:spPr>
        <p:txBody>
          <a:bodyPr tIns="109728" bIns="109728">
            <a:noAutofit/>
          </a:bodyPr>
          <a:lstStyle>
            <a:lvl1pPr marL="0" indent="0">
              <a:spcBef>
                <a:spcPts val="0"/>
              </a:spcBef>
              <a:buNone/>
              <a:defRPr sz="2353">
                <a:solidFill>
                  <a:schemeClr val="tx1"/>
                </a:solidFill>
              </a:defRPr>
            </a:lvl1pPr>
          </a:lstStyle>
          <a:p>
            <a:pPr lvl="0"/>
            <a:r>
              <a:rPr lang="en-US" dirty="0"/>
              <a:t>Speaker Name</a:t>
            </a:r>
          </a:p>
        </p:txBody>
      </p:sp>
    </p:spTree>
    <p:extLst>
      <p:ext uri="{BB962C8B-B14F-4D97-AF65-F5344CB8AC3E}">
        <p14:creationId xmlns:p14="http://schemas.microsoft.com/office/powerpoint/2010/main" val="21031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5" y="1448"/>
            <a:ext cx="12267426" cy="6862889"/>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53" y="1934746"/>
            <a:ext cx="6619567" cy="3406898"/>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62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6"/>
            <a:ext cx="6276531" cy="1793104"/>
          </a:xfrm>
          <a:noFill/>
        </p:spPr>
        <p:txBody>
          <a:bodyPr lIns="146304" tIns="91440" rIns="146304" bIns="91440" anchor="t" anchorCtr="0"/>
          <a:lstStyle>
            <a:lvl1pPr>
              <a:defRPr sz="3970" spc="-74"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1" cy="1344828"/>
          </a:xfrm>
        </p:spPr>
        <p:txBody>
          <a:bodyPr tIns="109728" bIns="109728">
            <a:noAutofit/>
          </a:bodyPr>
          <a:lstStyle>
            <a:lvl1pPr marL="0" indent="0">
              <a:spcBef>
                <a:spcPts val="0"/>
              </a:spcBef>
              <a:buNone/>
              <a:defRPr sz="2353">
                <a:solidFill>
                  <a:schemeClr val="bg1"/>
                </a:solidFill>
              </a:defRPr>
            </a:lvl1pPr>
          </a:lstStyle>
          <a:p>
            <a:pPr lvl="0"/>
            <a:r>
              <a:rPr lang="en-US" dirty="0"/>
              <a:t>Speaker Name</a:t>
            </a:r>
          </a:p>
        </p:txBody>
      </p:sp>
      <p:grpSp>
        <p:nvGrpSpPr>
          <p:cNvPr id="8" name="Group 7"/>
          <p:cNvGrpSpPr>
            <a:grpSpLocks noChangeAspect="1"/>
          </p:cNvGrpSpPr>
          <p:nvPr/>
        </p:nvGrpSpPr>
        <p:grpSpPr bwMode="black">
          <a:xfrm>
            <a:off x="448524" y="6055087"/>
            <a:ext cx="1613565" cy="346462"/>
            <a:chOff x="457200" y="1643393"/>
            <a:chExt cx="4492753" cy="96454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117432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_Title Slide Photo_Option">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 y="634"/>
            <a:ext cx="12191999" cy="69398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53" y="1934746"/>
            <a:ext cx="6619567" cy="3406898"/>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625"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6"/>
            <a:ext cx="6276531" cy="1793104"/>
          </a:xfrm>
          <a:noFill/>
        </p:spPr>
        <p:txBody>
          <a:bodyPr lIns="146304" tIns="91440" rIns="146304" bIns="91440" anchor="t" anchorCtr="0"/>
          <a:lstStyle>
            <a:lvl1pPr>
              <a:defRPr sz="3970" spc="-74"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1" cy="1344828"/>
          </a:xfrm>
        </p:spPr>
        <p:txBody>
          <a:bodyPr tIns="109728" bIns="109728">
            <a:noAutofit/>
          </a:bodyPr>
          <a:lstStyle>
            <a:lvl1pPr marL="0" indent="0">
              <a:spcBef>
                <a:spcPts val="0"/>
              </a:spcBef>
              <a:buNone/>
              <a:defRPr sz="2353">
                <a:solidFill>
                  <a:schemeClr val="bg1"/>
                </a:solidFill>
              </a:defRPr>
            </a:lvl1pPr>
          </a:lstStyle>
          <a:p>
            <a:pPr lvl="0"/>
            <a:r>
              <a:rPr lang="en-US" dirty="0"/>
              <a:t>Speaker Name</a:t>
            </a:r>
          </a:p>
        </p:txBody>
      </p:sp>
      <p:grpSp>
        <p:nvGrpSpPr>
          <p:cNvPr id="13" name="Group 12"/>
          <p:cNvGrpSpPr>
            <a:grpSpLocks noChangeAspect="1"/>
          </p:cNvGrpSpPr>
          <p:nvPr/>
        </p:nvGrpSpPr>
        <p:grpSpPr bwMode="black">
          <a:xfrm>
            <a:off x="448524" y="6041179"/>
            <a:ext cx="1613565" cy="346462"/>
            <a:chOff x="457200" y="1643393"/>
            <a:chExt cx="4492753" cy="96454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09650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with Graphic">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grpSp>
        <p:nvGrpSpPr>
          <p:cNvPr id="6" name="Group 5"/>
          <p:cNvGrpSpPr>
            <a:grpSpLocks noChangeAspect="1"/>
          </p:cNvGrpSpPr>
          <p:nvPr/>
        </p:nvGrpSpPr>
        <p:grpSpPr>
          <a:xfrm>
            <a:off x="4303462" y="3354287"/>
            <a:ext cx="7888539" cy="3518723"/>
            <a:chOff x="2389187" y="3314382"/>
            <a:chExt cx="10061576" cy="3676650"/>
          </a:xfrm>
        </p:grpSpPr>
        <p:grpSp>
          <p:nvGrpSpPr>
            <p:cNvPr id="53" name="Group 52"/>
            <p:cNvGrpSpPr/>
            <p:nvPr userDrawn="1"/>
          </p:nvGrpSpPr>
          <p:grpSpPr>
            <a:xfrm>
              <a:off x="2389187" y="3314382"/>
              <a:ext cx="10061576" cy="3676650"/>
              <a:chOff x="2481263" y="3317875"/>
              <a:chExt cx="10061576" cy="3676650"/>
            </a:xfrm>
          </p:grpSpPr>
          <p:sp>
            <p:nvSpPr>
              <p:cNvPr id="54" name="Freeform 872"/>
              <p:cNvSpPr>
                <a:spLocks/>
              </p:cNvSpPr>
              <p:nvPr/>
            </p:nvSpPr>
            <p:spPr bwMode="auto">
              <a:xfrm>
                <a:off x="2508251" y="3984625"/>
                <a:ext cx="10034588" cy="3009900"/>
              </a:xfrm>
              <a:custGeom>
                <a:avLst/>
                <a:gdLst>
                  <a:gd name="T0" fmla="*/ 3893 w 6321"/>
                  <a:gd name="T1" fmla="*/ 4 h 1896"/>
                  <a:gd name="T2" fmla="*/ 3943 w 6321"/>
                  <a:gd name="T3" fmla="*/ 42 h 1896"/>
                  <a:gd name="T4" fmla="*/ 4097 w 6321"/>
                  <a:gd name="T5" fmla="*/ 156 h 1896"/>
                  <a:gd name="T6" fmla="*/ 4333 w 6321"/>
                  <a:gd name="T7" fmla="*/ 332 h 1896"/>
                  <a:gd name="T8" fmla="*/ 4349 w 6321"/>
                  <a:gd name="T9" fmla="*/ 346 h 1896"/>
                  <a:gd name="T10" fmla="*/ 4431 w 6321"/>
                  <a:gd name="T11" fmla="*/ 420 h 1896"/>
                  <a:gd name="T12" fmla="*/ 4637 w 6321"/>
                  <a:gd name="T13" fmla="*/ 601 h 1896"/>
                  <a:gd name="T14" fmla="*/ 4773 w 6321"/>
                  <a:gd name="T15" fmla="*/ 712 h 1896"/>
                  <a:gd name="T16" fmla="*/ 4823 w 6321"/>
                  <a:gd name="T17" fmla="*/ 685 h 1896"/>
                  <a:gd name="T18" fmla="*/ 4840 w 6321"/>
                  <a:gd name="T19" fmla="*/ 655 h 1896"/>
                  <a:gd name="T20" fmla="*/ 4911 w 6321"/>
                  <a:gd name="T21" fmla="*/ 524 h 1896"/>
                  <a:gd name="T22" fmla="*/ 5032 w 6321"/>
                  <a:gd name="T23" fmla="*/ 300 h 1896"/>
                  <a:gd name="T24" fmla="*/ 5050 w 6321"/>
                  <a:gd name="T25" fmla="*/ 313 h 1896"/>
                  <a:gd name="T26" fmla="*/ 5140 w 6321"/>
                  <a:gd name="T27" fmla="*/ 382 h 1896"/>
                  <a:gd name="T28" fmla="*/ 5361 w 6321"/>
                  <a:gd name="T29" fmla="*/ 555 h 1896"/>
                  <a:gd name="T30" fmla="*/ 5434 w 6321"/>
                  <a:gd name="T31" fmla="*/ 614 h 1896"/>
                  <a:gd name="T32" fmla="*/ 5509 w 6321"/>
                  <a:gd name="T33" fmla="*/ 712 h 1896"/>
                  <a:gd name="T34" fmla="*/ 5512 w 6321"/>
                  <a:gd name="T35" fmla="*/ 720 h 1896"/>
                  <a:gd name="T36" fmla="*/ 5545 w 6321"/>
                  <a:gd name="T37" fmla="*/ 766 h 1896"/>
                  <a:gd name="T38" fmla="*/ 5633 w 6321"/>
                  <a:gd name="T39" fmla="*/ 894 h 1896"/>
                  <a:gd name="T40" fmla="*/ 5804 w 6321"/>
                  <a:gd name="T41" fmla="*/ 1144 h 1896"/>
                  <a:gd name="T42" fmla="*/ 6087 w 6321"/>
                  <a:gd name="T43" fmla="*/ 1554 h 1896"/>
                  <a:gd name="T44" fmla="*/ 0 w 6321"/>
                  <a:gd name="T45" fmla="*/ 1896 h 1896"/>
                  <a:gd name="T46" fmla="*/ 12 w 6321"/>
                  <a:gd name="T47" fmla="*/ 1884 h 1896"/>
                  <a:gd name="T48" fmla="*/ 75 w 6321"/>
                  <a:gd name="T49" fmla="*/ 1829 h 1896"/>
                  <a:gd name="T50" fmla="*/ 235 w 6321"/>
                  <a:gd name="T51" fmla="*/ 1689 h 1896"/>
                  <a:gd name="T52" fmla="*/ 530 w 6321"/>
                  <a:gd name="T53" fmla="*/ 1426 h 1896"/>
                  <a:gd name="T54" fmla="*/ 820 w 6321"/>
                  <a:gd name="T55" fmla="*/ 1222 h 1896"/>
                  <a:gd name="T56" fmla="*/ 915 w 6321"/>
                  <a:gd name="T57" fmla="*/ 1178 h 1896"/>
                  <a:gd name="T58" fmla="*/ 1076 w 6321"/>
                  <a:gd name="T59" fmla="*/ 1188 h 1896"/>
                  <a:gd name="T60" fmla="*/ 1128 w 6321"/>
                  <a:gd name="T61" fmla="*/ 1299 h 1896"/>
                  <a:gd name="T62" fmla="*/ 1155 w 6321"/>
                  <a:gd name="T63" fmla="*/ 1338 h 1896"/>
                  <a:gd name="T64" fmla="*/ 1205 w 6321"/>
                  <a:gd name="T65" fmla="*/ 1280 h 1896"/>
                  <a:gd name="T66" fmla="*/ 1362 w 6321"/>
                  <a:gd name="T67" fmla="*/ 1102 h 1896"/>
                  <a:gd name="T68" fmla="*/ 1422 w 6321"/>
                  <a:gd name="T69" fmla="*/ 1046 h 1896"/>
                  <a:gd name="T70" fmla="*/ 1533 w 6321"/>
                  <a:gd name="T71" fmla="*/ 1029 h 1896"/>
                  <a:gd name="T72" fmla="*/ 1639 w 6321"/>
                  <a:gd name="T73" fmla="*/ 1013 h 1896"/>
                  <a:gd name="T74" fmla="*/ 1712 w 6321"/>
                  <a:gd name="T75" fmla="*/ 1029 h 1896"/>
                  <a:gd name="T76" fmla="*/ 1894 w 6321"/>
                  <a:gd name="T77" fmla="*/ 1071 h 1896"/>
                  <a:gd name="T78" fmla="*/ 1906 w 6321"/>
                  <a:gd name="T79" fmla="*/ 1056 h 1896"/>
                  <a:gd name="T80" fmla="*/ 1963 w 6321"/>
                  <a:gd name="T81" fmla="*/ 979 h 1896"/>
                  <a:gd name="T82" fmla="*/ 2103 w 6321"/>
                  <a:gd name="T83" fmla="*/ 789 h 1896"/>
                  <a:gd name="T84" fmla="*/ 2365 w 6321"/>
                  <a:gd name="T85" fmla="*/ 434 h 1896"/>
                  <a:gd name="T86" fmla="*/ 2382 w 6321"/>
                  <a:gd name="T87" fmla="*/ 430 h 1896"/>
                  <a:gd name="T88" fmla="*/ 2495 w 6321"/>
                  <a:gd name="T89" fmla="*/ 401 h 1896"/>
                  <a:gd name="T90" fmla="*/ 2726 w 6321"/>
                  <a:gd name="T91" fmla="*/ 346 h 1896"/>
                  <a:gd name="T92" fmla="*/ 2743 w 6321"/>
                  <a:gd name="T93" fmla="*/ 359 h 1896"/>
                  <a:gd name="T94" fmla="*/ 2841 w 6321"/>
                  <a:gd name="T95" fmla="*/ 428 h 1896"/>
                  <a:gd name="T96" fmla="*/ 3021 w 6321"/>
                  <a:gd name="T97" fmla="*/ 557 h 1896"/>
                  <a:gd name="T98" fmla="*/ 3041 w 6321"/>
                  <a:gd name="T99" fmla="*/ 547 h 1896"/>
                  <a:gd name="T100" fmla="*/ 3144 w 6321"/>
                  <a:gd name="T101" fmla="*/ 509 h 1896"/>
                  <a:gd name="T102" fmla="*/ 3400 w 6321"/>
                  <a:gd name="T103" fmla="*/ 409 h 1896"/>
                  <a:gd name="T104" fmla="*/ 3563 w 6321"/>
                  <a:gd name="T105" fmla="*/ 344 h 1896"/>
                  <a:gd name="T106" fmla="*/ 3596 w 6321"/>
                  <a:gd name="T107" fmla="*/ 311 h 1896"/>
                  <a:gd name="T108" fmla="*/ 3707 w 6321"/>
                  <a:gd name="T109" fmla="*/ 192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21" h="1896">
                    <a:moveTo>
                      <a:pt x="3888" y="0"/>
                    </a:moveTo>
                    <a:lnTo>
                      <a:pt x="3890" y="0"/>
                    </a:lnTo>
                    <a:lnTo>
                      <a:pt x="3890" y="0"/>
                    </a:lnTo>
                    <a:lnTo>
                      <a:pt x="3891" y="2"/>
                    </a:lnTo>
                    <a:lnTo>
                      <a:pt x="3893" y="4"/>
                    </a:lnTo>
                    <a:lnTo>
                      <a:pt x="3897" y="8"/>
                    </a:lnTo>
                    <a:lnTo>
                      <a:pt x="3905" y="14"/>
                    </a:lnTo>
                    <a:lnTo>
                      <a:pt x="3915" y="19"/>
                    </a:lnTo>
                    <a:lnTo>
                      <a:pt x="3928" y="29"/>
                    </a:lnTo>
                    <a:lnTo>
                      <a:pt x="3943" y="42"/>
                    </a:lnTo>
                    <a:lnTo>
                      <a:pt x="3964" y="58"/>
                    </a:lnTo>
                    <a:lnTo>
                      <a:pt x="3989" y="77"/>
                    </a:lnTo>
                    <a:lnTo>
                      <a:pt x="4020" y="98"/>
                    </a:lnTo>
                    <a:lnTo>
                      <a:pt x="4057" y="125"/>
                    </a:lnTo>
                    <a:lnTo>
                      <a:pt x="4097" y="156"/>
                    </a:lnTo>
                    <a:lnTo>
                      <a:pt x="4145" y="192"/>
                    </a:lnTo>
                    <a:lnTo>
                      <a:pt x="4201" y="232"/>
                    </a:lnTo>
                    <a:lnTo>
                      <a:pt x="4262" y="280"/>
                    </a:lnTo>
                    <a:lnTo>
                      <a:pt x="4333" y="332"/>
                    </a:lnTo>
                    <a:lnTo>
                      <a:pt x="4333" y="332"/>
                    </a:lnTo>
                    <a:lnTo>
                      <a:pt x="4333" y="332"/>
                    </a:lnTo>
                    <a:lnTo>
                      <a:pt x="4335" y="334"/>
                    </a:lnTo>
                    <a:lnTo>
                      <a:pt x="4337" y="336"/>
                    </a:lnTo>
                    <a:lnTo>
                      <a:pt x="4343" y="340"/>
                    </a:lnTo>
                    <a:lnTo>
                      <a:pt x="4349" y="346"/>
                    </a:lnTo>
                    <a:lnTo>
                      <a:pt x="4358" y="355"/>
                    </a:lnTo>
                    <a:lnTo>
                      <a:pt x="4370" y="365"/>
                    </a:lnTo>
                    <a:lnTo>
                      <a:pt x="4387" y="380"/>
                    </a:lnTo>
                    <a:lnTo>
                      <a:pt x="4406" y="397"/>
                    </a:lnTo>
                    <a:lnTo>
                      <a:pt x="4431" y="420"/>
                    </a:lnTo>
                    <a:lnTo>
                      <a:pt x="4460" y="445"/>
                    </a:lnTo>
                    <a:lnTo>
                      <a:pt x="4495" y="476"/>
                    </a:lnTo>
                    <a:lnTo>
                      <a:pt x="4537" y="513"/>
                    </a:lnTo>
                    <a:lnTo>
                      <a:pt x="4583" y="555"/>
                    </a:lnTo>
                    <a:lnTo>
                      <a:pt x="4637" y="601"/>
                    </a:lnTo>
                    <a:lnTo>
                      <a:pt x="4696" y="655"/>
                    </a:lnTo>
                    <a:lnTo>
                      <a:pt x="4765" y="716"/>
                    </a:lnTo>
                    <a:lnTo>
                      <a:pt x="4765" y="716"/>
                    </a:lnTo>
                    <a:lnTo>
                      <a:pt x="4767" y="714"/>
                    </a:lnTo>
                    <a:lnTo>
                      <a:pt x="4773" y="712"/>
                    </a:lnTo>
                    <a:lnTo>
                      <a:pt x="4783" y="706"/>
                    </a:lnTo>
                    <a:lnTo>
                      <a:pt x="4798" y="699"/>
                    </a:lnTo>
                    <a:lnTo>
                      <a:pt x="4823" y="687"/>
                    </a:lnTo>
                    <a:lnTo>
                      <a:pt x="4823" y="687"/>
                    </a:lnTo>
                    <a:lnTo>
                      <a:pt x="4823" y="685"/>
                    </a:lnTo>
                    <a:lnTo>
                      <a:pt x="4825" y="683"/>
                    </a:lnTo>
                    <a:lnTo>
                      <a:pt x="4827" y="681"/>
                    </a:lnTo>
                    <a:lnTo>
                      <a:pt x="4829" y="676"/>
                    </a:lnTo>
                    <a:lnTo>
                      <a:pt x="4834" y="666"/>
                    </a:lnTo>
                    <a:lnTo>
                      <a:pt x="4840" y="655"/>
                    </a:lnTo>
                    <a:lnTo>
                      <a:pt x="4850" y="639"/>
                    </a:lnTo>
                    <a:lnTo>
                      <a:pt x="4859" y="618"/>
                    </a:lnTo>
                    <a:lnTo>
                      <a:pt x="4875" y="593"/>
                    </a:lnTo>
                    <a:lnTo>
                      <a:pt x="4890" y="561"/>
                    </a:lnTo>
                    <a:lnTo>
                      <a:pt x="4911" y="524"/>
                    </a:lnTo>
                    <a:lnTo>
                      <a:pt x="4934" y="480"/>
                    </a:lnTo>
                    <a:lnTo>
                      <a:pt x="4963" y="428"/>
                    </a:lnTo>
                    <a:lnTo>
                      <a:pt x="4996" y="369"/>
                    </a:lnTo>
                    <a:lnTo>
                      <a:pt x="5032" y="300"/>
                    </a:lnTo>
                    <a:lnTo>
                      <a:pt x="5032" y="300"/>
                    </a:lnTo>
                    <a:lnTo>
                      <a:pt x="5032" y="300"/>
                    </a:lnTo>
                    <a:lnTo>
                      <a:pt x="5034" y="301"/>
                    </a:lnTo>
                    <a:lnTo>
                      <a:pt x="5038" y="303"/>
                    </a:lnTo>
                    <a:lnTo>
                      <a:pt x="5042" y="307"/>
                    </a:lnTo>
                    <a:lnTo>
                      <a:pt x="5050" y="313"/>
                    </a:lnTo>
                    <a:lnTo>
                      <a:pt x="5059" y="321"/>
                    </a:lnTo>
                    <a:lnTo>
                      <a:pt x="5073" y="332"/>
                    </a:lnTo>
                    <a:lnTo>
                      <a:pt x="5090" y="346"/>
                    </a:lnTo>
                    <a:lnTo>
                      <a:pt x="5113" y="363"/>
                    </a:lnTo>
                    <a:lnTo>
                      <a:pt x="5140" y="382"/>
                    </a:lnTo>
                    <a:lnTo>
                      <a:pt x="5171" y="407"/>
                    </a:lnTo>
                    <a:lnTo>
                      <a:pt x="5209" y="436"/>
                    </a:lnTo>
                    <a:lnTo>
                      <a:pt x="5253" y="470"/>
                    </a:lnTo>
                    <a:lnTo>
                      <a:pt x="5303" y="509"/>
                    </a:lnTo>
                    <a:lnTo>
                      <a:pt x="5361" y="555"/>
                    </a:lnTo>
                    <a:lnTo>
                      <a:pt x="5426" y="605"/>
                    </a:lnTo>
                    <a:lnTo>
                      <a:pt x="5426" y="605"/>
                    </a:lnTo>
                    <a:lnTo>
                      <a:pt x="5428" y="607"/>
                    </a:lnTo>
                    <a:lnTo>
                      <a:pt x="5430" y="608"/>
                    </a:lnTo>
                    <a:lnTo>
                      <a:pt x="5434" y="614"/>
                    </a:lnTo>
                    <a:lnTo>
                      <a:pt x="5441" y="624"/>
                    </a:lnTo>
                    <a:lnTo>
                      <a:pt x="5451" y="637"/>
                    </a:lnTo>
                    <a:lnTo>
                      <a:pt x="5464" y="656"/>
                    </a:lnTo>
                    <a:lnTo>
                      <a:pt x="5484" y="681"/>
                    </a:lnTo>
                    <a:lnTo>
                      <a:pt x="5509" y="712"/>
                    </a:lnTo>
                    <a:lnTo>
                      <a:pt x="5509" y="712"/>
                    </a:lnTo>
                    <a:lnTo>
                      <a:pt x="5509" y="714"/>
                    </a:lnTo>
                    <a:lnTo>
                      <a:pt x="5509" y="714"/>
                    </a:lnTo>
                    <a:lnTo>
                      <a:pt x="5511" y="716"/>
                    </a:lnTo>
                    <a:lnTo>
                      <a:pt x="5512" y="720"/>
                    </a:lnTo>
                    <a:lnTo>
                      <a:pt x="5516" y="724"/>
                    </a:lnTo>
                    <a:lnTo>
                      <a:pt x="5520" y="731"/>
                    </a:lnTo>
                    <a:lnTo>
                      <a:pt x="5528" y="741"/>
                    </a:lnTo>
                    <a:lnTo>
                      <a:pt x="5535" y="752"/>
                    </a:lnTo>
                    <a:lnTo>
                      <a:pt x="5545" y="766"/>
                    </a:lnTo>
                    <a:lnTo>
                      <a:pt x="5557" y="785"/>
                    </a:lnTo>
                    <a:lnTo>
                      <a:pt x="5572" y="806"/>
                    </a:lnTo>
                    <a:lnTo>
                      <a:pt x="5589" y="831"/>
                    </a:lnTo>
                    <a:lnTo>
                      <a:pt x="5610" y="860"/>
                    </a:lnTo>
                    <a:lnTo>
                      <a:pt x="5633" y="894"/>
                    </a:lnTo>
                    <a:lnTo>
                      <a:pt x="5660" y="933"/>
                    </a:lnTo>
                    <a:lnTo>
                      <a:pt x="5689" y="977"/>
                    </a:lnTo>
                    <a:lnTo>
                      <a:pt x="5724" y="1027"/>
                    </a:lnTo>
                    <a:lnTo>
                      <a:pt x="5762" y="1082"/>
                    </a:lnTo>
                    <a:lnTo>
                      <a:pt x="5804" y="1144"/>
                    </a:lnTo>
                    <a:lnTo>
                      <a:pt x="5850" y="1211"/>
                    </a:lnTo>
                    <a:lnTo>
                      <a:pt x="5902" y="1286"/>
                    </a:lnTo>
                    <a:lnTo>
                      <a:pt x="5958" y="1368"/>
                    </a:lnTo>
                    <a:lnTo>
                      <a:pt x="6019" y="1459"/>
                    </a:lnTo>
                    <a:lnTo>
                      <a:pt x="6087" y="1554"/>
                    </a:lnTo>
                    <a:lnTo>
                      <a:pt x="6158" y="1660"/>
                    </a:lnTo>
                    <a:lnTo>
                      <a:pt x="6236" y="1773"/>
                    </a:lnTo>
                    <a:lnTo>
                      <a:pt x="6321" y="1896"/>
                    </a:lnTo>
                    <a:lnTo>
                      <a:pt x="0" y="1896"/>
                    </a:lnTo>
                    <a:lnTo>
                      <a:pt x="0" y="1896"/>
                    </a:lnTo>
                    <a:lnTo>
                      <a:pt x="0" y="1896"/>
                    </a:lnTo>
                    <a:lnTo>
                      <a:pt x="0" y="1894"/>
                    </a:lnTo>
                    <a:lnTo>
                      <a:pt x="4" y="1892"/>
                    </a:lnTo>
                    <a:lnTo>
                      <a:pt x="6" y="1890"/>
                    </a:lnTo>
                    <a:lnTo>
                      <a:pt x="12" y="1884"/>
                    </a:lnTo>
                    <a:lnTo>
                      <a:pt x="20" y="1879"/>
                    </a:lnTo>
                    <a:lnTo>
                      <a:pt x="29" y="1869"/>
                    </a:lnTo>
                    <a:lnTo>
                      <a:pt x="41" y="1860"/>
                    </a:lnTo>
                    <a:lnTo>
                      <a:pt x="56" y="1846"/>
                    </a:lnTo>
                    <a:lnTo>
                      <a:pt x="75" y="1829"/>
                    </a:lnTo>
                    <a:lnTo>
                      <a:pt x="98" y="1808"/>
                    </a:lnTo>
                    <a:lnTo>
                      <a:pt x="125" y="1785"/>
                    </a:lnTo>
                    <a:lnTo>
                      <a:pt x="156" y="1756"/>
                    </a:lnTo>
                    <a:lnTo>
                      <a:pt x="192" y="1725"/>
                    </a:lnTo>
                    <a:lnTo>
                      <a:pt x="235" y="1689"/>
                    </a:lnTo>
                    <a:lnTo>
                      <a:pt x="281" y="1647"/>
                    </a:lnTo>
                    <a:lnTo>
                      <a:pt x="335" y="1601"/>
                    </a:lnTo>
                    <a:lnTo>
                      <a:pt x="392" y="1549"/>
                    </a:lnTo>
                    <a:lnTo>
                      <a:pt x="457" y="1491"/>
                    </a:lnTo>
                    <a:lnTo>
                      <a:pt x="530" y="1426"/>
                    </a:lnTo>
                    <a:lnTo>
                      <a:pt x="609" y="1357"/>
                    </a:lnTo>
                    <a:lnTo>
                      <a:pt x="696" y="1280"/>
                    </a:lnTo>
                    <a:lnTo>
                      <a:pt x="742" y="1259"/>
                    </a:lnTo>
                    <a:lnTo>
                      <a:pt x="782" y="1240"/>
                    </a:lnTo>
                    <a:lnTo>
                      <a:pt x="820" y="1222"/>
                    </a:lnTo>
                    <a:lnTo>
                      <a:pt x="851" y="1207"/>
                    </a:lnTo>
                    <a:lnTo>
                      <a:pt x="878" y="1196"/>
                    </a:lnTo>
                    <a:lnTo>
                      <a:pt x="897" y="1186"/>
                    </a:lnTo>
                    <a:lnTo>
                      <a:pt x="909" y="1180"/>
                    </a:lnTo>
                    <a:lnTo>
                      <a:pt x="915" y="1178"/>
                    </a:lnTo>
                    <a:lnTo>
                      <a:pt x="1070" y="1178"/>
                    </a:lnTo>
                    <a:lnTo>
                      <a:pt x="1070" y="1178"/>
                    </a:lnTo>
                    <a:lnTo>
                      <a:pt x="1072" y="1178"/>
                    </a:lnTo>
                    <a:lnTo>
                      <a:pt x="1072" y="1182"/>
                    </a:lnTo>
                    <a:lnTo>
                      <a:pt x="1076" y="1188"/>
                    </a:lnTo>
                    <a:lnTo>
                      <a:pt x="1080" y="1199"/>
                    </a:lnTo>
                    <a:lnTo>
                      <a:pt x="1087" y="1213"/>
                    </a:lnTo>
                    <a:lnTo>
                      <a:pt x="1097" y="1234"/>
                    </a:lnTo>
                    <a:lnTo>
                      <a:pt x="1110" y="1263"/>
                    </a:lnTo>
                    <a:lnTo>
                      <a:pt x="1128" y="1299"/>
                    </a:lnTo>
                    <a:lnTo>
                      <a:pt x="1149" y="1343"/>
                    </a:lnTo>
                    <a:lnTo>
                      <a:pt x="1149" y="1343"/>
                    </a:lnTo>
                    <a:lnTo>
                      <a:pt x="1149" y="1343"/>
                    </a:lnTo>
                    <a:lnTo>
                      <a:pt x="1151" y="1341"/>
                    </a:lnTo>
                    <a:lnTo>
                      <a:pt x="1155" y="1338"/>
                    </a:lnTo>
                    <a:lnTo>
                      <a:pt x="1158" y="1332"/>
                    </a:lnTo>
                    <a:lnTo>
                      <a:pt x="1166" y="1324"/>
                    </a:lnTo>
                    <a:lnTo>
                      <a:pt x="1176" y="1313"/>
                    </a:lnTo>
                    <a:lnTo>
                      <a:pt x="1189" y="1299"/>
                    </a:lnTo>
                    <a:lnTo>
                      <a:pt x="1205" y="1280"/>
                    </a:lnTo>
                    <a:lnTo>
                      <a:pt x="1226" y="1255"/>
                    </a:lnTo>
                    <a:lnTo>
                      <a:pt x="1253" y="1226"/>
                    </a:lnTo>
                    <a:lnTo>
                      <a:pt x="1283" y="1192"/>
                    </a:lnTo>
                    <a:lnTo>
                      <a:pt x="1320" y="1150"/>
                    </a:lnTo>
                    <a:lnTo>
                      <a:pt x="1362" y="1102"/>
                    </a:lnTo>
                    <a:lnTo>
                      <a:pt x="1410" y="1048"/>
                    </a:lnTo>
                    <a:lnTo>
                      <a:pt x="1410" y="1048"/>
                    </a:lnTo>
                    <a:lnTo>
                      <a:pt x="1412" y="1046"/>
                    </a:lnTo>
                    <a:lnTo>
                      <a:pt x="1414" y="1046"/>
                    </a:lnTo>
                    <a:lnTo>
                      <a:pt x="1422" y="1046"/>
                    </a:lnTo>
                    <a:lnTo>
                      <a:pt x="1431" y="1044"/>
                    </a:lnTo>
                    <a:lnTo>
                      <a:pt x="1447" y="1042"/>
                    </a:lnTo>
                    <a:lnTo>
                      <a:pt x="1468" y="1038"/>
                    </a:lnTo>
                    <a:lnTo>
                      <a:pt x="1496" y="1034"/>
                    </a:lnTo>
                    <a:lnTo>
                      <a:pt x="1533" y="1029"/>
                    </a:lnTo>
                    <a:lnTo>
                      <a:pt x="1577" y="1021"/>
                    </a:lnTo>
                    <a:lnTo>
                      <a:pt x="1633" y="1011"/>
                    </a:lnTo>
                    <a:lnTo>
                      <a:pt x="1633" y="1011"/>
                    </a:lnTo>
                    <a:lnTo>
                      <a:pt x="1635" y="1013"/>
                    </a:lnTo>
                    <a:lnTo>
                      <a:pt x="1639" y="1013"/>
                    </a:lnTo>
                    <a:lnTo>
                      <a:pt x="1642" y="1013"/>
                    </a:lnTo>
                    <a:lnTo>
                      <a:pt x="1652" y="1017"/>
                    </a:lnTo>
                    <a:lnTo>
                      <a:pt x="1666" y="1019"/>
                    </a:lnTo>
                    <a:lnTo>
                      <a:pt x="1685" y="1023"/>
                    </a:lnTo>
                    <a:lnTo>
                      <a:pt x="1712" y="1029"/>
                    </a:lnTo>
                    <a:lnTo>
                      <a:pt x="1744" y="1036"/>
                    </a:lnTo>
                    <a:lnTo>
                      <a:pt x="1785" y="1046"/>
                    </a:lnTo>
                    <a:lnTo>
                      <a:pt x="1835" y="1057"/>
                    </a:lnTo>
                    <a:lnTo>
                      <a:pt x="1894" y="1071"/>
                    </a:lnTo>
                    <a:lnTo>
                      <a:pt x="1894" y="1071"/>
                    </a:lnTo>
                    <a:lnTo>
                      <a:pt x="1896" y="1069"/>
                    </a:lnTo>
                    <a:lnTo>
                      <a:pt x="1896" y="1069"/>
                    </a:lnTo>
                    <a:lnTo>
                      <a:pt x="1898" y="1065"/>
                    </a:lnTo>
                    <a:lnTo>
                      <a:pt x="1902" y="1061"/>
                    </a:lnTo>
                    <a:lnTo>
                      <a:pt x="1906" y="1056"/>
                    </a:lnTo>
                    <a:lnTo>
                      <a:pt x="1911" y="1046"/>
                    </a:lnTo>
                    <a:lnTo>
                      <a:pt x="1921" y="1034"/>
                    </a:lnTo>
                    <a:lnTo>
                      <a:pt x="1932" y="1021"/>
                    </a:lnTo>
                    <a:lnTo>
                      <a:pt x="1946" y="1002"/>
                    </a:lnTo>
                    <a:lnTo>
                      <a:pt x="1963" y="979"/>
                    </a:lnTo>
                    <a:lnTo>
                      <a:pt x="1982" y="952"/>
                    </a:lnTo>
                    <a:lnTo>
                      <a:pt x="2005" y="919"/>
                    </a:lnTo>
                    <a:lnTo>
                      <a:pt x="2034" y="881"/>
                    </a:lnTo>
                    <a:lnTo>
                      <a:pt x="2067" y="839"/>
                    </a:lnTo>
                    <a:lnTo>
                      <a:pt x="2103" y="789"/>
                    </a:lnTo>
                    <a:lnTo>
                      <a:pt x="2144" y="733"/>
                    </a:lnTo>
                    <a:lnTo>
                      <a:pt x="2192" y="670"/>
                    </a:lnTo>
                    <a:lnTo>
                      <a:pt x="2244" y="599"/>
                    </a:lnTo>
                    <a:lnTo>
                      <a:pt x="2301" y="520"/>
                    </a:lnTo>
                    <a:lnTo>
                      <a:pt x="2365" y="434"/>
                    </a:lnTo>
                    <a:lnTo>
                      <a:pt x="2365" y="434"/>
                    </a:lnTo>
                    <a:lnTo>
                      <a:pt x="2367" y="434"/>
                    </a:lnTo>
                    <a:lnTo>
                      <a:pt x="2368" y="432"/>
                    </a:lnTo>
                    <a:lnTo>
                      <a:pt x="2374" y="432"/>
                    </a:lnTo>
                    <a:lnTo>
                      <a:pt x="2382" y="430"/>
                    </a:lnTo>
                    <a:lnTo>
                      <a:pt x="2393" y="426"/>
                    </a:lnTo>
                    <a:lnTo>
                      <a:pt x="2411" y="422"/>
                    </a:lnTo>
                    <a:lnTo>
                      <a:pt x="2432" y="417"/>
                    </a:lnTo>
                    <a:lnTo>
                      <a:pt x="2461" y="411"/>
                    </a:lnTo>
                    <a:lnTo>
                      <a:pt x="2495" y="401"/>
                    </a:lnTo>
                    <a:lnTo>
                      <a:pt x="2539" y="392"/>
                    </a:lnTo>
                    <a:lnTo>
                      <a:pt x="2591" y="378"/>
                    </a:lnTo>
                    <a:lnTo>
                      <a:pt x="2653" y="365"/>
                    </a:lnTo>
                    <a:lnTo>
                      <a:pt x="2726" y="346"/>
                    </a:lnTo>
                    <a:lnTo>
                      <a:pt x="2726" y="346"/>
                    </a:lnTo>
                    <a:lnTo>
                      <a:pt x="2726" y="348"/>
                    </a:lnTo>
                    <a:lnTo>
                      <a:pt x="2728" y="348"/>
                    </a:lnTo>
                    <a:lnTo>
                      <a:pt x="2730" y="351"/>
                    </a:lnTo>
                    <a:lnTo>
                      <a:pt x="2735" y="353"/>
                    </a:lnTo>
                    <a:lnTo>
                      <a:pt x="2743" y="359"/>
                    </a:lnTo>
                    <a:lnTo>
                      <a:pt x="2754" y="369"/>
                    </a:lnTo>
                    <a:lnTo>
                      <a:pt x="2770" y="378"/>
                    </a:lnTo>
                    <a:lnTo>
                      <a:pt x="2789" y="392"/>
                    </a:lnTo>
                    <a:lnTo>
                      <a:pt x="2812" y="409"/>
                    </a:lnTo>
                    <a:lnTo>
                      <a:pt x="2841" y="428"/>
                    </a:lnTo>
                    <a:lnTo>
                      <a:pt x="2875" y="453"/>
                    </a:lnTo>
                    <a:lnTo>
                      <a:pt x="2918" y="482"/>
                    </a:lnTo>
                    <a:lnTo>
                      <a:pt x="2966" y="516"/>
                    </a:lnTo>
                    <a:lnTo>
                      <a:pt x="3021" y="557"/>
                    </a:lnTo>
                    <a:lnTo>
                      <a:pt x="3021" y="557"/>
                    </a:lnTo>
                    <a:lnTo>
                      <a:pt x="3021" y="555"/>
                    </a:lnTo>
                    <a:lnTo>
                      <a:pt x="3023" y="555"/>
                    </a:lnTo>
                    <a:lnTo>
                      <a:pt x="3027" y="553"/>
                    </a:lnTo>
                    <a:lnTo>
                      <a:pt x="3033" y="551"/>
                    </a:lnTo>
                    <a:lnTo>
                      <a:pt x="3041" y="547"/>
                    </a:lnTo>
                    <a:lnTo>
                      <a:pt x="3052" y="543"/>
                    </a:lnTo>
                    <a:lnTo>
                      <a:pt x="3068" y="537"/>
                    </a:lnTo>
                    <a:lnTo>
                      <a:pt x="3089" y="530"/>
                    </a:lnTo>
                    <a:lnTo>
                      <a:pt x="3114" y="520"/>
                    </a:lnTo>
                    <a:lnTo>
                      <a:pt x="3144" y="509"/>
                    </a:lnTo>
                    <a:lnTo>
                      <a:pt x="3181" y="493"/>
                    </a:lnTo>
                    <a:lnTo>
                      <a:pt x="3225" y="476"/>
                    </a:lnTo>
                    <a:lnTo>
                      <a:pt x="3275" y="457"/>
                    </a:lnTo>
                    <a:lnTo>
                      <a:pt x="3333" y="434"/>
                    </a:lnTo>
                    <a:lnTo>
                      <a:pt x="3400" y="409"/>
                    </a:lnTo>
                    <a:lnTo>
                      <a:pt x="3475" y="380"/>
                    </a:lnTo>
                    <a:lnTo>
                      <a:pt x="3561" y="346"/>
                    </a:lnTo>
                    <a:lnTo>
                      <a:pt x="3561" y="346"/>
                    </a:lnTo>
                    <a:lnTo>
                      <a:pt x="3561" y="346"/>
                    </a:lnTo>
                    <a:lnTo>
                      <a:pt x="3563" y="344"/>
                    </a:lnTo>
                    <a:lnTo>
                      <a:pt x="3565" y="342"/>
                    </a:lnTo>
                    <a:lnTo>
                      <a:pt x="3569" y="338"/>
                    </a:lnTo>
                    <a:lnTo>
                      <a:pt x="3575" y="332"/>
                    </a:lnTo>
                    <a:lnTo>
                      <a:pt x="3584" y="323"/>
                    </a:lnTo>
                    <a:lnTo>
                      <a:pt x="3596" y="311"/>
                    </a:lnTo>
                    <a:lnTo>
                      <a:pt x="3609" y="296"/>
                    </a:lnTo>
                    <a:lnTo>
                      <a:pt x="3626" y="277"/>
                    </a:lnTo>
                    <a:lnTo>
                      <a:pt x="3649" y="254"/>
                    </a:lnTo>
                    <a:lnTo>
                      <a:pt x="3676" y="225"/>
                    </a:lnTo>
                    <a:lnTo>
                      <a:pt x="3707" y="192"/>
                    </a:lnTo>
                    <a:lnTo>
                      <a:pt x="3744" y="154"/>
                    </a:lnTo>
                    <a:lnTo>
                      <a:pt x="3786" y="110"/>
                    </a:lnTo>
                    <a:lnTo>
                      <a:pt x="3834" y="58"/>
                    </a:lnTo>
                    <a:lnTo>
                      <a:pt x="3888"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55" name="Freeform 873"/>
              <p:cNvSpPr>
                <a:spLocks/>
              </p:cNvSpPr>
              <p:nvPr/>
            </p:nvSpPr>
            <p:spPr bwMode="auto">
              <a:xfrm>
                <a:off x="4746626" y="5224463"/>
                <a:ext cx="768350" cy="441325"/>
              </a:xfrm>
              <a:custGeom>
                <a:avLst/>
                <a:gdLst>
                  <a:gd name="T0" fmla="*/ 227 w 484"/>
                  <a:gd name="T1" fmla="*/ 0 h 278"/>
                  <a:gd name="T2" fmla="*/ 484 w 484"/>
                  <a:gd name="T3" fmla="*/ 278 h 278"/>
                  <a:gd name="T4" fmla="*/ 223 w 484"/>
                  <a:gd name="T5" fmla="*/ 221 h 278"/>
                  <a:gd name="T6" fmla="*/ 0 w 484"/>
                  <a:gd name="T7" fmla="*/ 255 h 278"/>
                  <a:gd name="T8" fmla="*/ 227 w 484"/>
                  <a:gd name="T9" fmla="*/ 0 h 278"/>
                </a:gdLst>
                <a:ahLst/>
                <a:cxnLst>
                  <a:cxn ang="0">
                    <a:pos x="T0" y="T1"/>
                  </a:cxn>
                  <a:cxn ang="0">
                    <a:pos x="T2" y="T3"/>
                  </a:cxn>
                  <a:cxn ang="0">
                    <a:pos x="T4" y="T5"/>
                  </a:cxn>
                  <a:cxn ang="0">
                    <a:pos x="T6" y="T7"/>
                  </a:cxn>
                  <a:cxn ang="0">
                    <a:pos x="T8" y="T9"/>
                  </a:cxn>
                </a:cxnLst>
                <a:rect l="0" t="0" r="r" b="b"/>
                <a:pathLst>
                  <a:path w="484" h="278">
                    <a:moveTo>
                      <a:pt x="227" y="0"/>
                    </a:moveTo>
                    <a:lnTo>
                      <a:pt x="484" y="278"/>
                    </a:lnTo>
                    <a:lnTo>
                      <a:pt x="223" y="221"/>
                    </a:lnTo>
                    <a:lnTo>
                      <a:pt x="0" y="255"/>
                    </a:lnTo>
                    <a:lnTo>
                      <a:pt x="227"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56" name="Freeform 874"/>
              <p:cNvSpPr>
                <a:spLocks/>
              </p:cNvSpPr>
              <p:nvPr/>
            </p:nvSpPr>
            <p:spPr bwMode="auto">
              <a:xfrm>
                <a:off x="10164763" y="4262438"/>
                <a:ext cx="960438" cy="795338"/>
              </a:xfrm>
              <a:custGeom>
                <a:avLst/>
                <a:gdLst>
                  <a:gd name="T0" fmla="*/ 286 w 605"/>
                  <a:gd name="T1" fmla="*/ 0 h 501"/>
                  <a:gd name="T2" fmla="*/ 605 w 605"/>
                  <a:gd name="T3" fmla="*/ 418 h 501"/>
                  <a:gd name="T4" fmla="*/ 301 w 605"/>
                  <a:gd name="T5" fmla="*/ 224 h 501"/>
                  <a:gd name="T6" fmla="*/ 0 w 605"/>
                  <a:gd name="T7" fmla="*/ 501 h 501"/>
                  <a:gd name="T8" fmla="*/ 286 w 605"/>
                  <a:gd name="T9" fmla="*/ 0 h 501"/>
                </a:gdLst>
                <a:ahLst/>
                <a:cxnLst>
                  <a:cxn ang="0">
                    <a:pos x="T0" y="T1"/>
                  </a:cxn>
                  <a:cxn ang="0">
                    <a:pos x="T2" y="T3"/>
                  </a:cxn>
                  <a:cxn ang="0">
                    <a:pos x="T4" y="T5"/>
                  </a:cxn>
                  <a:cxn ang="0">
                    <a:pos x="T6" y="T7"/>
                  </a:cxn>
                  <a:cxn ang="0">
                    <a:pos x="T8" y="T9"/>
                  </a:cxn>
                </a:cxnLst>
                <a:rect l="0" t="0" r="r" b="b"/>
                <a:pathLst>
                  <a:path w="605" h="501">
                    <a:moveTo>
                      <a:pt x="286" y="0"/>
                    </a:moveTo>
                    <a:lnTo>
                      <a:pt x="605" y="418"/>
                    </a:lnTo>
                    <a:lnTo>
                      <a:pt x="301" y="224"/>
                    </a:lnTo>
                    <a:lnTo>
                      <a:pt x="0" y="501"/>
                    </a:lnTo>
                    <a:lnTo>
                      <a:pt x="28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57" name="Freeform 875"/>
              <p:cNvSpPr>
                <a:spLocks/>
              </p:cNvSpPr>
              <p:nvPr/>
            </p:nvSpPr>
            <p:spPr bwMode="auto">
              <a:xfrm>
                <a:off x="3613151" y="5399088"/>
                <a:ext cx="593725" cy="600075"/>
              </a:xfrm>
              <a:custGeom>
                <a:avLst/>
                <a:gdLst>
                  <a:gd name="T0" fmla="*/ 244 w 374"/>
                  <a:gd name="T1" fmla="*/ 0 h 378"/>
                  <a:gd name="T2" fmla="*/ 244 w 374"/>
                  <a:gd name="T3" fmla="*/ 0 h 378"/>
                  <a:gd name="T4" fmla="*/ 244 w 374"/>
                  <a:gd name="T5" fmla="*/ 1 h 378"/>
                  <a:gd name="T6" fmla="*/ 245 w 374"/>
                  <a:gd name="T7" fmla="*/ 3 h 378"/>
                  <a:gd name="T8" fmla="*/ 247 w 374"/>
                  <a:gd name="T9" fmla="*/ 7 h 378"/>
                  <a:gd name="T10" fmla="*/ 251 w 374"/>
                  <a:gd name="T11" fmla="*/ 15 h 378"/>
                  <a:gd name="T12" fmla="*/ 255 w 374"/>
                  <a:gd name="T13" fmla="*/ 26 h 378"/>
                  <a:gd name="T14" fmla="*/ 263 w 374"/>
                  <a:gd name="T15" fmla="*/ 42 h 378"/>
                  <a:gd name="T16" fmla="*/ 274 w 374"/>
                  <a:gd name="T17" fmla="*/ 65 h 378"/>
                  <a:gd name="T18" fmla="*/ 286 w 374"/>
                  <a:gd name="T19" fmla="*/ 92 h 378"/>
                  <a:gd name="T20" fmla="*/ 303 w 374"/>
                  <a:gd name="T21" fmla="*/ 126 h 378"/>
                  <a:gd name="T22" fmla="*/ 322 w 374"/>
                  <a:gd name="T23" fmla="*/ 166 h 378"/>
                  <a:gd name="T24" fmla="*/ 345 w 374"/>
                  <a:gd name="T25" fmla="*/ 216 h 378"/>
                  <a:gd name="T26" fmla="*/ 374 w 374"/>
                  <a:gd name="T27" fmla="*/ 276 h 378"/>
                  <a:gd name="T28" fmla="*/ 217 w 374"/>
                  <a:gd name="T29" fmla="*/ 276 h 378"/>
                  <a:gd name="T30" fmla="*/ 213 w 374"/>
                  <a:gd name="T31" fmla="*/ 278 h 378"/>
                  <a:gd name="T32" fmla="*/ 201 w 374"/>
                  <a:gd name="T33" fmla="*/ 284 h 378"/>
                  <a:gd name="T34" fmla="*/ 182 w 374"/>
                  <a:gd name="T35" fmla="*/ 293 h 378"/>
                  <a:gd name="T36" fmla="*/ 155 w 374"/>
                  <a:gd name="T37" fmla="*/ 305 h 378"/>
                  <a:gd name="T38" fmla="*/ 123 w 374"/>
                  <a:gd name="T39" fmla="*/ 320 h 378"/>
                  <a:gd name="T40" fmla="*/ 86 w 374"/>
                  <a:gd name="T41" fmla="*/ 337 h 378"/>
                  <a:gd name="T42" fmla="*/ 46 w 374"/>
                  <a:gd name="T43" fmla="*/ 356 h 378"/>
                  <a:gd name="T44" fmla="*/ 0 w 374"/>
                  <a:gd name="T45" fmla="*/ 378 h 378"/>
                  <a:gd name="T46" fmla="*/ 0 w 374"/>
                  <a:gd name="T47" fmla="*/ 378 h 378"/>
                  <a:gd name="T48" fmla="*/ 2 w 374"/>
                  <a:gd name="T49" fmla="*/ 378 h 378"/>
                  <a:gd name="T50" fmla="*/ 2 w 374"/>
                  <a:gd name="T51" fmla="*/ 376 h 378"/>
                  <a:gd name="T52" fmla="*/ 3 w 374"/>
                  <a:gd name="T53" fmla="*/ 372 h 378"/>
                  <a:gd name="T54" fmla="*/ 7 w 374"/>
                  <a:gd name="T55" fmla="*/ 366 h 378"/>
                  <a:gd name="T56" fmla="*/ 13 w 374"/>
                  <a:gd name="T57" fmla="*/ 358 h 378"/>
                  <a:gd name="T58" fmla="*/ 21 w 374"/>
                  <a:gd name="T59" fmla="*/ 347 h 378"/>
                  <a:gd name="T60" fmla="*/ 30 w 374"/>
                  <a:gd name="T61" fmla="*/ 331 h 378"/>
                  <a:gd name="T62" fmla="*/ 44 w 374"/>
                  <a:gd name="T63" fmla="*/ 310 h 378"/>
                  <a:gd name="T64" fmla="*/ 59 w 374"/>
                  <a:gd name="T65" fmla="*/ 285 h 378"/>
                  <a:gd name="T66" fmla="*/ 78 w 374"/>
                  <a:gd name="T67" fmla="*/ 255 h 378"/>
                  <a:gd name="T68" fmla="*/ 103 w 374"/>
                  <a:gd name="T69" fmla="*/ 218 h 378"/>
                  <a:gd name="T70" fmla="*/ 130 w 374"/>
                  <a:gd name="T71" fmla="*/ 174 h 378"/>
                  <a:gd name="T72" fmla="*/ 163 w 374"/>
                  <a:gd name="T73" fmla="*/ 124 h 378"/>
                  <a:gd name="T74" fmla="*/ 201 w 374"/>
                  <a:gd name="T75" fmla="*/ 67 h 378"/>
                  <a:gd name="T76" fmla="*/ 244 w 374"/>
                  <a:gd name="T7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 h="378">
                    <a:moveTo>
                      <a:pt x="244" y="0"/>
                    </a:moveTo>
                    <a:lnTo>
                      <a:pt x="244" y="0"/>
                    </a:lnTo>
                    <a:lnTo>
                      <a:pt x="244" y="1"/>
                    </a:lnTo>
                    <a:lnTo>
                      <a:pt x="245" y="3"/>
                    </a:lnTo>
                    <a:lnTo>
                      <a:pt x="247" y="7"/>
                    </a:lnTo>
                    <a:lnTo>
                      <a:pt x="251" y="15"/>
                    </a:lnTo>
                    <a:lnTo>
                      <a:pt x="255" y="26"/>
                    </a:lnTo>
                    <a:lnTo>
                      <a:pt x="263" y="42"/>
                    </a:lnTo>
                    <a:lnTo>
                      <a:pt x="274" y="65"/>
                    </a:lnTo>
                    <a:lnTo>
                      <a:pt x="286" y="92"/>
                    </a:lnTo>
                    <a:lnTo>
                      <a:pt x="303" y="126"/>
                    </a:lnTo>
                    <a:lnTo>
                      <a:pt x="322" y="166"/>
                    </a:lnTo>
                    <a:lnTo>
                      <a:pt x="345" y="216"/>
                    </a:lnTo>
                    <a:lnTo>
                      <a:pt x="374" y="276"/>
                    </a:lnTo>
                    <a:lnTo>
                      <a:pt x="217" y="276"/>
                    </a:lnTo>
                    <a:lnTo>
                      <a:pt x="213" y="278"/>
                    </a:lnTo>
                    <a:lnTo>
                      <a:pt x="201" y="284"/>
                    </a:lnTo>
                    <a:lnTo>
                      <a:pt x="182" y="293"/>
                    </a:lnTo>
                    <a:lnTo>
                      <a:pt x="155" y="305"/>
                    </a:lnTo>
                    <a:lnTo>
                      <a:pt x="123" y="320"/>
                    </a:lnTo>
                    <a:lnTo>
                      <a:pt x="86" y="337"/>
                    </a:lnTo>
                    <a:lnTo>
                      <a:pt x="46" y="356"/>
                    </a:lnTo>
                    <a:lnTo>
                      <a:pt x="0" y="378"/>
                    </a:lnTo>
                    <a:lnTo>
                      <a:pt x="0" y="378"/>
                    </a:lnTo>
                    <a:lnTo>
                      <a:pt x="2" y="378"/>
                    </a:lnTo>
                    <a:lnTo>
                      <a:pt x="2" y="376"/>
                    </a:lnTo>
                    <a:lnTo>
                      <a:pt x="3" y="372"/>
                    </a:lnTo>
                    <a:lnTo>
                      <a:pt x="7" y="366"/>
                    </a:lnTo>
                    <a:lnTo>
                      <a:pt x="13" y="358"/>
                    </a:lnTo>
                    <a:lnTo>
                      <a:pt x="21" y="347"/>
                    </a:lnTo>
                    <a:lnTo>
                      <a:pt x="30" y="331"/>
                    </a:lnTo>
                    <a:lnTo>
                      <a:pt x="44" y="310"/>
                    </a:lnTo>
                    <a:lnTo>
                      <a:pt x="59" y="285"/>
                    </a:lnTo>
                    <a:lnTo>
                      <a:pt x="78" y="255"/>
                    </a:lnTo>
                    <a:lnTo>
                      <a:pt x="103" y="218"/>
                    </a:lnTo>
                    <a:lnTo>
                      <a:pt x="130" y="174"/>
                    </a:lnTo>
                    <a:lnTo>
                      <a:pt x="163" y="124"/>
                    </a:lnTo>
                    <a:lnTo>
                      <a:pt x="201" y="67"/>
                    </a:lnTo>
                    <a:lnTo>
                      <a:pt x="244"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58" name="Freeform 876"/>
              <p:cNvSpPr>
                <a:spLocks/>
              </p:cNvSpPr>
              <p:nvPr/>
            </p:nvSpPr>
            <p:spPr bwMode="auto">
              <a:xfrm>
                <a:off x="10909301" y="4240214"/>
                <a:ext cx="1282700" cy="638493"/>
              </a:xfrm>
              <a:custGeom>
                <a:avLst/>
                <a:gdLst>
                  <a:gd name="T0" fmla="*/ 353 w 808"/>
                  <a:gd name="T1" fmla="*/ 0 h 530"/>
                  <a:gd name="T2" fmla="*/ 397 w 808"/>
                  <a:gd name="T3" fmla="*/ 4 h 530"/>
                  <a:gd name="T4" fmla="*/ 439 w 808"/>
                  <a:gd name="T5" fmla="*/ 18 h 530"/>
                  <a:gd name="T6" fmla="*/ 476 w 808"/>
                  <a:gd name="T7" fmla="*/ 39 h 530"/>
                  <a:gd name="T8" fmla="*/ 510 w 808"/>
                  <a:gd name="T9" fmla="*/ 66 h 530"/>
                  <a:gd name="T10" fmla="*/ 537 w 808"/>
                  <a:gd name="T11" fmla="*/ 98 h 530"/>
                  <a:gd name="T12" fmla="*/ 557 w 808"/>
                  <a:gd name="T13" fmla="*/ 91 h 530"/>
                  <a:gd name="T14" fmla="*/ 578 w 808"/>
                  <a:gd name="T15" fmla="*/ 85 h 530"/>
                  <a:gd name="T16" fmla="*/ 599 w 808"/>
                  <a:gd name="T17" fmla="*/ 83 h 530"/>
                  <a:gd name="T18" fmla="*/ 624 w 808"/>
                  <a:gd name="T19" fmla="*/ 85 h 530"/>
                  <a:gd name="T20" fmla="*/ 649 w 808"/>
                  <a:gd name="T21" fmla="*/ 93 h 530"/>
                  <a:gd name="T22" fmla="*/ 670 w 808"/>
                  <a:gd name="T23" fmla="*/ 106 h 530"/>
                  <a:gd name="T24" fmla="*/ 693 w 808"/>
                  <a:gd name="T25" fmla="*/ 127 h 530"/>
                  <a:gd name="T26" fmla="*/ 712 w 808"/>
                  <a:gd name="T27" fmla="*/ 150 h 530"/>
                  <a:gd name="T28" fmla="*/ 724 w 808"/>
                  <a:gd name="T29" fmla="*/ 177 h 530"/>
                  <a:gd name="T30" fmla="*/ 729 w 808"/>
                  <a:gd name="T31" fmla="*/ 210 h 530"/>
                  <a:gd name="T32" fmla="*/ 762 w 808"/>
                  <a:gd name="T33" fmla="*/ 236 h 530"/>
                  <a:gd name="T34" fmla="*/ 785 w 808"/>
                  <a:gd name="T35" fmla="*/ 271 h 530"/>
                  <a:gd name="T36" fmla="*/ 802 w 808"/>
                  <a:gd name="T37" fmla="*/ 313 h 530"/>
                  <a:gd name="T38" fmla="*/ 808 w 808"/>
                  <a:gd name="T39" fmla="*/ 357 h 530"/>
                  <a:gd name="T40" fmla="*/ 802 w 808"/>
                  <a:gd name="T41" fmla="*/ 401 h 530"/>
                  <a:gd name="T42" fmla="*/ 787 w 808"/>
                  <a:gd name="T43" fmla="*/ 442 h 530"/>
                  <a:gd name="T44" fmla="*/ 762 w 808"/>
                  <a:gd name="T45" fmla="*/ 476 h 530"/>
                  <a:gd name="T46" fmla="*/ 731 w 808"/>
                  <a:gd name="T47" fmla="*/ 503 h 530"/>
                  <a:gd name="T48" fmla="*/ 693 w 808"/>
                  <a:gd name="T49" fmla="*/ 522 h 530"/>
                  <a:gd name="T50" fmla="*/ 651 w 808"/>
                  <a:gd name="T51" fmla="*/ 530 h 530"/>
                  <a:gd name="T52" fmla="*/ 149 w 808"/>
                  <a:gd name="T53" fmla="*/ 530 h 530"/>
                  <a:gd name="T54" fmla="*/ 109 w 808"/>
                  <a:gd name="T55" fmla="*/ 526 h 530"/>
                  <a:gd name="T56" fmla="*/ 74 w 808"/>
                  <a:gd name="T57" fmla="*/ 511 h 530"/>
                  <a:gd name="T58" fmla="*/ 44 w 808"/>
                  <a:gd name="T59" fmla="*/ 488 h 530"/>
                  <a:gd name="T60" fmla="*/ 21 w 808"/>
                  <a:gd name="T61" fmla="*/ 457 h 530"/>
                  <a:gd name="T62" fmla="*/ 5 w 808"/>
                  <a:gd name="T63" fmla="*/ 421 h 530"/>
                  <a:gd name="T64" fmla="*/ 0 w 808"/>
                  <a:gd name="T65" fmla="*/ 382 h 530"/>
                  <a:gd name="T66" fmla="*/ 5 w 808"/>
                  <a:gd name="T67" fmla="*/ 346 h 530"/>
                  <a:gd name="T68" fmla="*/ 17 w 808"/>
                  <a:gd name="T69" fmla="*/ 313 h 530"/>
                  <a:gd name="T70" fmla="*/ 36 w 808"/>
                  <a:gd name="T71" fmla="*/ 282 h 530"/>
                  <a:gd name="T72" fmla="*/ 63 w 808"/>
                  <a:gd name="T73" fmla="*/ 259 h 530"/>
                  <a:gd name="T74" fmla="*/ 94 w 808"/>
                  <a:gd name="T75" fmla="*/ 242 h 530"/>
                  <a:gd name="T76" fmla="*/ 130 w 808"/>
                  <a:gd name="T77" fmla="*/ 233 h 530"/>
                  <a:gd name="T78" fmla="*/ 130 w 808"/>
                  <a:gd name="T79" fmla="*/ 225 h 530"/>
                  <a:gd name="T80" fmla="*/ 134 w 808"/>
                  <a:gd name="T81" fmla="*/ 179 h 530"/>
                  <a:gd name="T82" fmla="*/ 147 w 808"/>
                  <a:gd name="T83" fmla="*/ 137 h 530"/>
                  <a:gd name="T84" fmla="*/ 167 w 808"/>
                  <a:gd name="T85" fmla="*/ 98 h 530"/>
                  <a:gd name="T86" fmla="*/ 194 w 808"/>
                  <a:gd name="T87" fmla="*/ 66 h 530"/>
                  <a:gd name="T88" fmla="*/ 226 w 808"/>
                  <a:gd name="T89" fmla="*/ 39 h 530"/>
                  <a:gd name="T90" fmla="*/ 265 w 808"/>
                  <a:gd name="T91" fmla="*/ 18 h 530"/>
                  <a:gd name="T92" fmla="*/ 307 w 808"/>
                  <a:gd name="T93" fmla="*/ 4 h 530"/>
                  <a:gd name="T94" fmla="*/ 353 w 808"/>
                  <a:gd name="T95"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8" h="530">
                    <a:moveTo>
                      <a:pt x="353" y="0"/>
                    </a:moveTo>
                    <a:lnTo>
                      <a:pt x="397" y="4"/>
                    </a:lnTo>
                    <a:lnTo>
                      <a:pt x="439" y="18"/>
                    </a:lnTo>
                    <a:lnTo>
                      <a:pt x="476" y="39"/>
                    </a:lnTo>
                    <a:lnTo>
                      <a:pt x="510" y="66"/>
                    </a:lnTo>
                    <a:lnTo>
                      <a:pt x="537" y="98"/>
                    </a:lnTo>
                    <a:lnTo>
                      <a:pt x="557" y="91"/>
                    </a:lnTo>
                    <a:lnTo>
                      <a:pt x="578" y="85"/>
                    </a:lnTo>
                    <a:lnTo>
                      <a:pt x="599" y="83"/>
                    </a:lnTo>
                    <a:lnTo>
                      <a:pt x="624" y="85"/>
                    </a:lnTo>
                    <a:lnTo>
                      <a:pt x="649" y="93"/>
                    </a:lnTo>
                    <a:lnTo>
                      <a:pt x="670" y="106"/>
                    </a:lnTo>
                    <a:lnTo>
                      <a:pt x="693" y="127"/>
                    </a:lnTo>
                    <a:lnTo>
                      <a:pt x="712" y="150"/>
                    </a:lnTo>
                    <a:lnTo>
                      <a:pt x="724" y="177"/>
                    </a:lnTo>
                    <a:lnTo>
                      <a:pt x="729" y="210"/>
                    </a:lnTo>
                    <a:lnTo>
                      <a:pt x="762" y="236"/>
                    </a:lnTo>
                    <a:lnTo>
                      <a:pt x="785" y="271"/>
                    </a:lnTo>
                    <a:lnTo>
                      <a:pt x="802" y="313"/>
                    </a:lnTo>
                    <a:lnTo>
                      <a:pt x="808" y="357"/>
                    </a:lnTo>
                    <a:lnTo>
                      <a:pt x="802" y="401"/>
                    </a:lnTo>
                    <a:lnTo>
                      <a:pt x="787" y="442"/>
                    </a:lnTo>
                    <a:lnTo>
                      <a:pt x="762" y="476"/>
                    </a:lnTo>
                    <a:lnTo>
                      <a:pt x="731" y="503"/>
                    </a:lnTo>
                    <a:lnTo>
                      <a:pt x="693" y="522"/>
                    </a:lnTo>
                    <a:lnTo>
                      <a:pt x="651" y="530"/>
                    </a:lnTo>
                    <a:lnTo>
                      <a:pt x="149" y="530"/>
                    </a:lnTo>
                    <a:lnTo>
                      <a:pt x="109" y="526"/>
                    </a:lnTo>
                    <a:lnTo>
                      <a:pt x="74" y="511"/>
                    </a:lnTo>
                    <a:lnTo>
                      <a:pt x="44" y="488"/>
                    </a:lnTo>
                    <a:lnTo>
                      <a:pt x="21" y="457"/>
                    </a:lnTo>
                    <a:lnTo>
                      <a:pt x="5" y="421"/>
                    </a:lnTo>
                    <a:lnTo>
                      <a:pt x="0" y="382"/>
                    </a:lnTo>
                    <a:lnTo>
                      <a:pt x="5" y="346"/>
                    </a:lnTo>
                    <a:lnTo>
                      <a:pt x="17" y="313"/>
                    </a:lnTo>
                    <a:lnTo>
                      <a:pt x="36" y="282"/>
                    </a:lnTo>
                    <a:lnTo>
                      <a:pt x="63" y="259"/>
                    </a:lnTo>
                    <a:lnTo>
                      <a:pt x="94" y="242"/>
                    </a:lnTo>
                    <a:lnTo>
                      <a:pt x="130" y="233"/>
                    </a:lnTo>
                    <a:lnTo>
                      <a:pt x="130" y="225"/>
                    </a:lnTo>
                    <a:lnTo>
                      <a:pt x="134" y="179"/>
                    </a:lnTo>
                    <a:lnTo>
                      <a:pt x="147" y="137"/>
                    </a:lnTo>
                    <a:lnTo>
                      <a:pt x="167" y="98"/>
                    </a:lnTo>
                    <a:lnTo>
                      <a:pt x="194" y="66"/>
                    </a:lnTo>
                    <a:lnTo>
                      <a:pt x="226" y="39"/>
                    </a:lnTo>
                    <a:lnTo>
                      <a:pt x="265" y="18"/>
                    </a:lnTo>
                    <a:lnTo>
                      <a:pt x="307" y="4"/>
                    </a:lnTo>
                    <a:lnTo>
                      <a:pt x="35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59" name="Freeform 878"/>
              <p:cNvSpPr>
                <a:spLocks/>
              </p:cNvSpPr>
              <p:nvPr/>
            </p:nvSpPr>
            <p:spPr bwMode="auto">
              <a:xfrm>
                <a:off x="9151938" y="5057775"/>
                <a:ext cx="1012825" cy="1047750"/>
              </a:xfrm>
              <a:custGeom>
                <a:avLst/>
                <a:gdLst>
                  <a:gd name="T0" fmla="*/ 638 w 638"/>
                  <a:gd name="T1" fmla="*/ 0 h 660"/>
                  <a:gd name="T2" fmla="*/ 638 w 638"/>
                  <a:gd name="T3" fmla="*/ 73 h 660"/>
                  <a:gd name="T4" fmla="*/ 632 w 638"/>
                  <a:gd name="T5" fmla="*/ 142 h 660"/>
                  <a:gd name="T6" fmla="*/ 619 w 638"/>
                  <a:gd name="T7" fmla="*/ 207 h 660"/>
                  <a:gd name="T8" fmla="*/ 603 w 638"/>
                  <a:gd name="T9" fmla="*/ 266 h 660"/>
                  <a:gd name="T10" fmla="*/ 584 w 638"/>
                  <a:gd name="T11" fmla="*/ 324 h 660"/>
                  <a:gd name="T12" fmla="*/ 563 w 638"/>
                  <a:gd name="T13" fmla="*/ 374 h 660"/>
                  <a:gd name="T14" fmla="*/ 540 w 638"/>
                  <a:gd name="T15" fmla="*/ 422 h 660"/>
                  <a:gd name="T16" fmla="*/ 517 w 638"/>
                  <a:gd name="T17" fmla="*/ 462 h 660"/>
                  <a:gd name="T18" fmla="*/ 496 w 638"/>
                  <a:gd name="T19" fmla="*/ 497 h 660"/>
                  <a:gd name="T20" fmla="*/ 475 w 638"/>
                  <a:gd name="T21" fmla="*/ 527 h 660"/>
                  <a:gd name="T22" fmla="*/ 457 w 638"/>
                  <a:gd name="T23" fmla="*/ 550 h 660"/>
                  <a:gd name="T24" fmla="*/ 444 w 638"/>
                  <a:gd name="T25" fmla="*/ 568 h 660"/>
                  <a:gd name="T26" fmla="*/ 436 w 638"/>
                  <a:gd name="T27" fmla="*/ 577 h 660"/>
                  <a:gd name="T28" fmla="*/ 432 w 638"/>
                  <a:gd name="T29" fmla="*/ 581 h 660"/>
                  <a:gd name="T30" fmla="*/ 432 w 638"/>
                  <a:gd name="T31" fmla="*/ 581 h 660"/>
                  <a:gd name="T32" fmla="*/ 432 w 638"/>
                  <a:gd name="T33" fmla="*/ 583 h 660"/>
                  <a:gd name="T34" fmla="*/ 434 w 638"/>
                  <a:gd name="T35" fmla="*/ 587 h 660"/>
                  <a:gd name="T36" fmla="*/ 436 w 638"/>
                  <a:gd name="T37" fmla="*/ 596 h 660"/>
                  <a:gd name="T38" fmla="*/ 440 w 638"/>
                  <a:gd name="T39" fmla="*/ 610 h 660"/>
                  <a:gd name="T40" fmla="*/ 446 w 638"/>
                  <a:gd name="T41" fmla="*/ 631 h 660"/>
                  <a:gd name="T42" fmla="*/ 452 w 638"/>
                  <a:gd name="T43" fmla="*/ 660 h 660"/>
                  <a:gd name="T44" fmla="*/ 448 w 638"/>
                  <a:gd name="T45" fmla="*/ 660 h 660"/>
                  <a:gd name="T46" fmla="*/ 436 w 638"/>
                  <a:gd name="T47" fmla="*/ 660 h 660"/>
                  <a:gd name="T48" fmla="*/ 419 w 638"/>
                  <a:gd name="T49" fmla="*/ 658 h 660"/>
                  <a:gd name="T50" fmla="*/ 396 w 638"/>
                  <a:gd name="T51" fmla="*/ 656 h 660"/>
                  <a:gd name="T52" fmla="*/ 367 w 638"/>
                  <a:gd name="T53" fmla="*/ 654 h 660"/>
                  <a:gd name="T54" fmla="*/ 334 w 638"/>
                  <a:gd name="T55" fmla="*/ 652 h 660"/>
                  <a:gd name="T56" fmla="*/ 300 w 638"/>
                  <a:gd name="T57" fmla="*/ 650 h 660"/>
                  <a:gd name="T58" fmla="*/ 263 w 638"/>
                  <a:gd name="T59" fmla="*/ 646 h 660"/>
                  <a:gd name="T60" fmla="*/ 227 w 638"/>
                  <a:gd name="T61" fmla="*/ 642 h 660"/>
                  <a:gd name="T62" fmla="*/ 189 w 638"/>
                  <a:gd name="T63" fmla="*/ 637 h 660"/>
                  <a:gd name="T64" fmla="*/ 152 w 638"/>
                  <a:gd name="T65" fmla="*/ 631 h 660"/>
                  <a:gd name="T66" fmla="*/ 117 w 638"/>
                  <a:gd name="T67" fmla="*/ 625 h 660"/>
                  <a:gd name="T68" fmla="*/ 85 w 638"/>
                  <a:gd name="T69" fmla="*/ 617 h 660"/>
                  <a:gd name="T70" fmla="*/ 58 w 638"/>
                  <a:gd name="T71" fmla="*/ 610 h 660"/>
                  <a:gd name="T72" fmla="*/ 33 w 638"/>
                  <a:gd name="T73" fmla="*/ 600 h 660"/>
                  <a:gd name="T74" fmla="*/ 16 w 638"/>
                  <a:gd name="T75" fmla="*/ 591 h 660"/>
                  <a:gd name="T76" fmla="*/ 4 w 638"/>
                  <a:gd name="T77" fmla="*/ 581 h 660"/>
                  <a:gd name="T78" fmla="*/ 0 w 638"/>
                  <a:gd name="T79" fmla="*/ 568 h 660"/>
                  <a:gd name="T80" fmla="*/ 4 w 638"/>
                  <a:gd name="T81" fmla="*/ 554 h 660"/>
                  <a:gd name="T82" fmla="*/ 18 w 638"/>
                  <a:gd name="T83" fmla="*/ 541 h 660"/>
                  <a:gd name="T84" fmla="*/ 41 w 638"/>
                  <a:gd name="T85" fmla="*/ 525 h 660"/>
                  <a:gd name="T86" fmla="*/ 75 w 638"/>
                  <a:gd name="T87" fmla="*/ 508 h 660"/>
                  <a:gd name="T88" fmla="*/ 121 w 638"/>
                  <a:gd name="T89" fmla="*/ 491 h 660"/>
                  <a:gd name="T90" fmla="*/ 198 w 638"/>
                  <a:gd name="T91" fmla="*/ 460 h 660"/>
                  <a:gd name="T92" fmla="*/ 265 w 638"/>
                  <a:gd name="T93" fmla="*/ 426 h 660"/>
                  <a:gd name="T94" fmla="*/ 325 w 638"/>
                  <a:gd name="T95" fmla="*/ 387 h 660"/>
                  <a:gd name="T96" fmla="*/ 375 w 638"/>
                  <a:gd name="T97" fmla="*/ 349 h 660"/>
                  <a:gd name="T98" fmla="*/ 419 w 638"/>
                  <a:gd name="T99" fmla="*/ 307 h 660"/>
                  <a:gd name="T100" fmla="*/ 457 w 638"/>
                  <a:gd name="T101" fmla="*/ 266 h 660"/>
                  <a:gd name="T102" fmla="*/ 488 w 638"/>
                  <a:gd name="T103" fmla="*/ 226 h 660"/>
                  <a:gd name="T104" fmla="*/ 515 w 638"/>
                  <a:gd name="T105" fmla="*/ 188 h 660"/>
                  <a:gd name="T106" fmla="*/ 534 w 638"/>
                  <a:gd name="T107" fmla="*/ 149 h 660"/>
                  <a:gd name="T108" fmla="*/ 552 w 638"/>
                  <a:gd name="T109" fmla="*/ 117 h 660"/>
                  <a:gd name="T110" fmla="*/ 563 w 638"/>
                  <a:gd name="T111" fmla="*/ 88 h 660"/>
                  <a:gd name="T112" fmla="*/ 571 w 638"/>
                  <a:gd name="T113" fmla="*/ 63 h 660"/>
                  <a:gd name="T114" fmla="*/ 576 w 638"/>
                  <a:gd name="T115" fmla="*/ 44 h 660"/>
                  <a:gd name="T116" fmla="*/ 580 w 638"/>
                  <a:gd name="T117" fmla="*/ 32 h 660"/>
                  <a:gd name="T118" fmla="*/ 580 w 638"/>
                  <a:gd name="T119" fmla="*/ 28 h 660"/>
                  <a:gd name="T120" fmla="*/ 638 w 638"/>
                  <a:gd name="T121"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660">
                    <a:moveTo>
                      <a:pt x="638" y="0"/>
                    </a:moveTo>
                    <a:lnTo>
                      <a:pt x="638" y="73"/>
                    </a:lnTo>
                    <a:lnTo>
                      <a:pt x="632" y="142"/>
                    </a:lnTo>
                    <a:lnTo>
                      <a:pt x="619" y="207"/>
                    </a:lnTo>
                    <a:lnTo>
                      <a:pt x="603" y="266"/>
                    </a:lnTo>
                    <a:lnTo>
                      <a:pt x="584" y="324"/>
                    </a:lnTo>
                    <a:lnTo>
                      <a:pt x="563" y="374"/>
                    </a:lnTo>
                    <a:lnTo>
                      <a:pt x="540" y="422"/>
                    </a:lnTo>
                    <a:lnTo>
                      <a:pt x="517" y="462"/>
                    </a:lnTo>
                    <a:lnTo>
                      <a:pt x="496" y="497"/>
                    </a:lnTo>
                    <a:lnTo>
                      <a:pt x="475" y="527"/>
                    </a:lnTo>
                    <a:lnTo>
                      <a:pt x="457" y="550"/>
                    </a:lnTo>
                    <a:lnTo>
                      <a:pt x="444" y="568"/>
                    </a:lnTo>
                    <a:lnTo>
                      <a:pt x="436" y="577"/>
                    </a:lnTo>
                    <a:lnTo>
                      <a:pt x="432" y="581"/>
                    </a:lnTo>
                    <a:lnTo>
                      <a:pt x="432" y="581"/>
                    </a:lnTo>
                    <a:lnTo>
                      <a:pt x="432" y="583"/>
                    </a:lnTo>
                    <a:lnTo>
                      <a:pt x="434" y="587"/>
                    </a:lnTo>
                    <a:lnTo>
                      <a:pt x="436" y="596"/>
                    </a:lnTo>
                    <a:lnTo>
                      <a:pt x="440" y="610"/>
                    </a:lnTo>
                    <a:lnTo>
                      <a:pt x="446" y="631"/>
                    </a:lnTo>
                    <a:lnTo>
                      <a:pt x="452" y="660"/>
                    </a:lnTo>
                    <a:lnTo>
                      <a:pt x="448" y="660"/>
                    </a:lnTo>
                    <a:lnTo>
                      <a:pt x="436" y="660"/>
                    </a:lnTo>
                    <a:lnTo>
                      <a:pt x="419" y="658"/>
                    </a:lnTo>
                    <a:lnTo>
                      <a:pt x="396" y="656"/>
                    </a:lnTo>
                    <a:lnTo>
                      <a:pt x="367" y="654"/>
                    </a:lnTo>
                    <a:lnTo>
                      <a:pt x="334" y="652"/>
                    </a:lnTo>
                    <a:lnTo>
                      <a:pt x="300" y="650"/>
                    </a:lnTo>
                    <a:lnTo>
                      <a:pt x="263" y="646"/>
                    </a:lnTo>
                    <a:lnTo>
                      <a:pt x="227" y="642"/>
                    </a:lnTo>
                    <a:lnTo>
                      <a:pt x="189" y="637"/>
                    </a:lnTo>
                    <a:lnTo>
                      <a:pt x="152" y="631"/>
                    </a:lnTo>
                    <a:lnTo>
                      <a:pt x="117" y="625"/>
                    </a:lnTo>
                    <a:lnTo>
                      <a:pt x="85" y="617"/>
                    </a:lnTo>
                    <a:lnTo>
                      <a:pt x="58" y="610"/>
                    </a:lnTo>
                    <a:lnTo>
                      <a:pt x="33" y="600"/>
                    </a:lnTo>
                    <a:lnTo>
                      <a:pt x="16" y="591"/>
                    </a:lnTo>
                    <a:lnTo>
                      <a:pt x="4" y="581"/>
                    </a:lnTo>
                    <a:lnTo>
                      <a:pt x="0" y="568"/>
                    </a:lnTo>
                    <a:lnTo>
                      <a:pt x="4" y="554"/>
                    </a:lnTo>
                    <a:lnTo>
                      <a:pt x="18" y="541"/>
                    </a:lnTo>
                    <a:lnTo>
                      <a:pt x="41" y="525"/>
                    </a:lnTo>
                    <a:lnTo>
                      <a:pt x="75" y="508"/>
                    </a:lnTo>
                    <a:lnTo>
                      <a:pt x="121" y="491"/>
                    </a:lnTo>
                    <a:lnTo>
                      <a:pt x="198" y="460"/>
                    </a:lnTo>
                    <a:lnTo>
                      <a:pt x="265" y="426"/>
                    </a:lnTo>
                    <a:lnTo>
                      <a:pt x="325" y="387"/>
                    </a:lnTo>
                    <a:lnTo>
                      <a:pt x="375" y="349"/>
                    </a:lnTo>
                    <a:lnTo>
                      <a:pt x="419" y="307"/>
                    </a:lnTo>
                    <a:lnTo>
                      <a:pt x="457" y="266"/>
                    </a:lnTo>
                    <a:lnTo>
                      <a:pt x="488" y="226"/>
                    </a:lnTo>
                    <a:lnTo>
                      <a:pt x="515" y="188"/>
                    </a:lnTo>
                    <a:lnTo>
                      <a:pt x="534" y="149"/>
                    </a:lnTo>
                    <a:lnTo>
                      <a:pt x="552" y="117"/>
                    </a:lnTo>
                    <a:lnTo>
                      <a:pt x="563" y="88"/>
                    </a:lnTo>
                    <a:lnTo>
                      <a:pt x="571" y="63"/>
                    </a:lnTo>
                    <a:lnTo>
                      <a:pt x="576" y="44"/>
                    </a:lnTo>
                    <a:lnTo>
                      <a:pt x="580" y="32"/>
                    </a:lnTo>
                    <a:lnTo>
                      <a:pt x="580" y="28"/>
                    </a:lnTo>
                    <a:lnTo>
                      <a:pt x="638" y="0"/>
                    </a:lnTo>
                    <a:close/>
                  </a:path>
                </a:pathLst>
              </a:custGeom>
              <a:solidFill>
                <a:srgbClr val="C9D8D5"/>
              </a:solidFill>
              <a:ln w="0">
                <a:solidFill>
                  <a:srgbClr val="C9D8D5"/>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0" name="Freeform 879"/>
              <p:cNvSpPr>
                <a:spLocks/>
              </p:cNvSpPr>
              <p:nvPr/>
            </p:nvSpPr>
            <p:spPr bwMode="auto">
              <a:xfrm>
                <a:off x="10433051" y="5257800"/>
                <a:ext cx="331788" cy="1000125"/>
              </a:xfrm>
              <a:custGeom>
                <a:avLst/>
                <a:gdLst>
                  <a:gd name="T0" fmla="*/ 117 w 209"/>
                  <a:gd name="T1" fmla="*/ 0 h 630"/>
                  <a:gd name="T2" fmla="*/ 209 w 209"/>
                  <a:gd name="T3" fmla="*/ 630 h 630"/>
                  <a:gd name="T4" fmla="*/ 0 w 209"/>
                  <a:gd name="T5" fmla="*/ 630 h 630"/>
                  <a:gd name="T6" fmla="*/ 117 w 209"/>
                  <a:gd name="T7" fmla="*/ 0 h 630"/>
                </a:gdLst>
                <a:ahLst/>
                <a:cxnLst>
                  <a:cxn ang="0">
                    <a:pos x="T0" y="T1"/>
                  </a:cxn>
                  <a:cxn ang="0">
                    <a:pos x="T2" y="T3"/>
                  </a:cxn>
                  <a:cxn ang="0">
                    <a:pos x="T4" y="T5"/>
                  </a:cxn>
                  <a:cxn ang="0">
                    <a:pos x="T6" y="T7"/>
                  </a:cxn>
                </a:cxnLst>
                <a:rect l="0" t="0" r="r" b="b"/>
                <a:pathLst>
                  <a:path w="209" h="630">
                    <a:moveTo>
                      <a:pt x="117" y="0"/>
                    </a:moveTo>
                    <a:lnTo>
                      <a:pt x="209" y="630"/>
                    </a:lnTo>
                    <a:lnTo>
                      <a:pt x="0" y="630"/>
                    </a:lnTo>
                    <a:lnTo>
                      <a:pt x="117" y="0"/>
                    </a:lnTo>
                    <a:close/>
                  </a:path>
                </a:pathLst>
              </a:custGeom>
              <a:solidFill>
                <a:srgbClr val="63D8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1" name="Freeform 880"/>
              <p:cNvSpPr>
                <a:spLocks/>
              </p:cNvSpPr>
              <p:nvPr/>
            </p:nvSpPr>
            <p:spPr bwMode="auto">
              <a:xfrm>
                <a:off x="10707688" y="5486400"/>
                <a:ext cx="258763" cy="771525"/>
              </a:xfrm>
              <a:custGeom>
                <a:avLst/>
                <a:gdLst>
                  <a:gd name="T0" fmla="*/ 92 w 163"/>
                  <a:gd name="T1" fmla="*/ 0 h 486"/>
                  <a:gd name="T2" fmla="*/ 163 w 163"/>
                  <a:gd name="T3" fmla="*/ 486 h 486"/>
                  <a:gd name="T4" fmla="*/ 0 w 163"/>
                  <a:gd name="T5" fmla="*/ 486 h 486"/>
                  <a:gd name="T6" fmla="*/ 92 w 163"/>
                  <a:gd name="T7" fmla="*/ 0 h 486"/>
                </a:gdLst>
                <a:ahLst/>
                <a:cxnLst>
                  <a:cxn ang="0">
                    <a:pos x="T0" y="T1"/>
                  </a:cxn>
                  <a:cxn ang="0">
                    <a:pos x="T2" y="T3"/>
                  </a:cxn>
                  <a:cxn ang="0">
                    <a:pos x="T4" y="T5"/>
                  </a:cxn>
                  <a:cxn ang="0">
                    <a:pos x="T6" y="T7"/>
                  </a:cxn>
                </a:cxnLst>
                <a:rect l="0" t="0" r="r" b="b"/>
                <a:pathLst>
                  <a:path w="163" h="486">
                    <a:moveTo>
                      <a:pt x="92" y="0"/>
                    </a:moveTo>
                    <a:lnTo>
                      <a:pt x="163" y="486"/>
                    </a:lnTo>
                    <a:lnTo>
                      <a:pt x="0" y="486"/>
                    </a:lnTo>
                    <a:lnTo>
                      <a:pt x="92"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2" name="Freeform 881"/>
              <p:cNvSpPr>
                <a:spLocks/>
              </p:cNvSpPr>
              <p:nvPr/>
            </p:nvSpPr>
            <p:spPr bwMode="auto">
              <a:xfrm>
                <a:off x="3848101" y="6215063"/>
                <a:ext cx="3660775" cy="763588"/>
              </a:xfrm>
              <a:custGeom>
                <a:avLst/>
                <a:gdLst>
                  <a:gd name="T0" fmla="*/ 1140 w 2306"/>
                  <a:gd name="T1" fmla="*/ 0 h 481"/>
                  <a:gd name="T2" fmla="*/ 1175 w 2306"/>
                  <a:gd name="T3" fmla="*/ 0 h 481"/>
                  <a:gd name="T4" fmla="*/ 1209 w 2306"/>
                  <a:gd name="T5" fmla="*/ 4 h 481"/>
                  <a:gd name="T6" fmla="*/ 1275 w 2306"/>
                  <a:gd name="T7" fmla="*/ 6 h 481"/>
                  <a:gd name="T8" fmla="*/ 1338 w 2306"/>
                  <a:gd name="T9" fmla="*/ 11 h 481"/>
                  <a:gd name="T10" fmla="*/ 1371 w 2306"/>
                  <a:gd name="T11" fmla="*/ 17 h 481"/>
                  <a:gd name="T12" fmla="*/ 1402 w 2306"/>
                  <a:gd name="T13" fmla="*/ 21 h 481"/>
                  <a:gd name="T14" fmla="*/ 1407 w 2306"/>
                  <a:gd name="T15" fmla="*/ 21 h 481"/>
                  <a:gd name="T16" fmla="*/ 1413 w 2306"/>
                  <a:gd name="T17" fmla="*/ 21 h 481"/>
                  <a:gd name="T18" fmla="*/ 1419 w 2306"/>
                  <a:gd name="T19" fmla="*/ 23 h 481"/>
                  <a:gd name="T20" fmla="*/ 1425 w 2306"/>
                  <a:gd name="T21" fmla="*/ 23 h 481"/>
                  <a:gd name="T22" fmla="*/ 1546 w 2306"/>
                  <a:gd name="T23" fmla="*/ 50 h 481"/>
                  <a:gd name="T24" fmla="*/ 1665 w 2306"/>
                  <a:gd name="T25" fmla="*/ 82 h 481"/>
                  <a:gd name="T26" fmla="*/ 1780 w 2306"/>
                  <a:gd name="T27" fmla="*/ 126 h 481"/>
                  <a:gd name="T28" fmla="*/ 1893 w 2306"/>
                  <a:gd name="T29" fmla="*/ 178 h 481"/>
                  <a:gd name="T30" fmla="*/ 2005 w 2306"/>
                  <a:gd name="T31" fmla="*/ 242 h 481"/>
                  <a:gd name="T32" fmla="*/ 2110 w 2306"/>
                  <a:gd name="T33" fmla="*/ 311 h 481"/>
                  <a:gd name="T34" fmla="*/ 2212 w 2306"/>
                  <a:gd name="T35" fmla="*/ 391 h 481"/>
                  <a:gd name="T36" fmla="*/ 2306 w 2306"/>
                  <a:gd name="T37" fmla="*/ 481 h 481"/>
                  <a:gd name="T38" fmla="*/ 2306 w 2306"/>
                  <a:gd name="T39" fmla="*/ 481 h 481"/>
                  <a:gd name="T40" fmla="*/ 2306 w 2306"/>
                  <a:gd name="T41" fmla="*/ 481 h 481"/>
                  <a:gd name="T42" fmla="*/ 2302 w 2306"/>
                  <a:gd name="T43" fmla="*/ 481 h 481"/>
                  <a:gd name="T44" fmla="*/ 2297 w 2306"/>
                  <a:gd name="T45" fmla="*/ 481 h 481"/>
                  <a:gd name="T46" fmla="*/ 2287 w 2306"/>
                  <a:gd name="T47" fmla="*/ 481 h 481"/>
                  <a:gd name="T48" fmla="*/ 1653 w 2306"/>
                  <a:gd name="T49" fmla="*/ 481 h 481"/>
                  <a:gd name="T50" fmla="*/ 1546 w 2306"/>
                  <a:gd name="T51" fmla="*/ 481 h 481"/>
                  <a:gd name="T52" fmla="*/ 1425 w 2306"/>
                  <a:gd name="T53" fmla="*/ 481 h 481"/>
                  <a:gd name="T54" fmla="*/ 1148 w 2306"/>
                  <a:gd name="T55" fmla="*/ 481 h 481"/>
                  <a:gd name="T56" fmla="*/ 991 w 2306"/>
                  <a:gd name="T57" fmla="*/ 481 h 481"/>
                  <a:gd name="T58" fmla="*/ 818 w 2306"/>
                  <a:gd name="T59" fmla="*/ 481 h 481"/>
                  <a:gd name="T60" fmla="*/ 818 w 2306"/>
                  <a:gd name="T61" fmla="*/ 481 h 481"/>
                  <a:gd name="T62" fmla="*/ 818 w 2306"/>
                  <a:gd name="T63" fmla="*/ 481 h 481"/>
                  <a:gd name="T64" fmla="*/ 814 w 2306"/>
                  <a:gd name="T65" fmla="*/ 481 h 481"/>
                  <a:gd name="T66" fmla="*/ 810 w 2306"/>
                  <a:gd name="T67" fmla="*/ 481 h 481"/>
                  <a:gd name="T68" fmla="*/ 800 w 2306"/>
                  <a:gd name="T69" fmla="*/ 481 h 481"/>
                  <a:gd name="T70" fmla="*/ 789 w 2306"/>
                  <a:gd name="T71" fmla="*/ 481 h 481"/>
                  <a:gd name="T72" fmla="*/ 716 w 2306"/>
                  <a:gd name="T73" fmla="*/ 481 h 481"/>
                  <a:gd name="T74" fmla="*/ 677 w 2306"/>
                  <a:gd name="T75" fmla="*/ 481 h 481"/>
                  <a:gd name="T76" fmla="*/ 631 w 2306"/>
                  <a:gd name="T77" fmla="*/ 481 h 481"/>
                  <a:gd name="T78" fmla="*/ 576 w 2306"/>
                  <a:gd name="T79" fmla="*/ 481 h 481"/>
                  <a:gd name="T80" fmla="*/ 510 w 2306"/>
                  <a:gd name="T81" fmla="*/ 481 h 481"/>
                  <a:gd name="T82" fmla="*/ 434 w 2306"/>
                  <a:gd name="T83" fmla="*/ 481 h 481"/>
                  <a:gd name="T84" fmla="*/ 243 w 2306"/>
                  <a:gd name="T85" fmla="*/ 481 h 481"/>
                  <a:gd name="T86" fmla="*/ 128 w 2306"/>
                  <a:gd name="T87" fmla="*/ 481 h 481"/>
                  <a:gd name="T88" fmla="*/ 0 w 2306"/>
                  <a:gd name="T89" fmla="*/ 481 h 481"/>
                  <a:gd name="T90" fmla="*/ 97 w 2306"/>
                  <a:gd name="T91" fmla="*/ 391 h 481"/>
                  <a:gd name="T92" fmla="*/ 201 w 2306"/>
                  <a:gd name="T93" fmla="*/ 309 h 481"/>
                  <a:gd name="T94" fmla="*/ 309 w 2306"/>
                  <a:gd name="T95" fmla="*/ 238 h 481"/>
                  <a:gd name="T96" fmla="*/ 420 w 2306"/>
                  <a:gd name="T97" fmla="*/ 176 h 481"/>
                  <a:gd name="T98" fmla="*/ 533 w 2306"/>
                  <a:gd name="T99" fmla="*/ 123 h 481"/>
                  <a:gd name="T100" fmla="*/ 652 w 2306"/>
                  <a:gd name="T101" fmla="*/ 78 h 481"/>
                  <a:gd name="T102" fmla="*/ 772 w 2306"/>
                  <a:gd name="T103" fmla="*/ 46 h 481"/>
                  <a:gd name="T104" fmla="*/ 894 w 2306"/>
                  <a:gd name="T105" fmla="*/ 21 h 481"/>
                  <a:gd name="T106" fmla="*/ 1017 w 2306"/>
                  <a:gd name="T107" fmla="*/ 6 h 481"/>
                  <a:gd name="T108" fmla="*/ 1140 w 2306"/>
                  <a:gd name="T10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06" h="481">
                    <a:moveTo>
                      <a:pt x="1140" y="0"/>
                    </a:moveTo>
                    <a:lnTo>
                      <a:pt x="1175" y="0"/>
                    </a:lnTo>
                    <a:lnTo>
                      <a:pt x="1209" y="4"/>
                    </a:lnTo>
                    <a:lnTo>
                      <a:pt x="1275" y="6"/>
                    </a:lnTo>
                    <a:lnTo>
                      <a:pt x="1338" y="11"/>
                    </a:lnTo>
                    <a:lnTo>
                      <a:pt x="1371" y="17"/>
                    </a:lnTo>
                    <a:lnTo>
                      <a:pt x="1402" y="21"/>
                    </a:lnTo>
                    <a:lnTo>
                      <a:pt x="1407" y="21"/>
                    </a:lnTo>
                    <a:lnTo>
                      <a:pt x="1413" y="21"/>
                    </a:lnTo>
                    <a:lnTo>
                      <a:pt x="1419" y="23"/>
                    </a:lnTo>
                    <a:lnTo>
                      <a:pt x="1425" y="23"/>
                    </a:lnTo>
                    <a:lnTo>
                      <a:pt x="1546" y="50"/>
                    </a:lnTo>
                    <a:lnTo>
                      <a:pt x="1665" y="82"/>
                    </a:lnTo>
                    <a:lnTo>
                      <a:pt x="1780" y="126"/>
                    </a:lnTo>
                    <a:lnTo>
                      <a:pt x="1893" y="178"/>
                    </a:lnTo>
                    <a:lnTo>
                      <a:pt x="2005" y="242"/>
                    </a:lnTo>
                    <a:lnTo>
                      <a:pt x="2110" y="311"/>
                    </a:lnTo>
                    <a:lnTo>
                      <a:pt x="2212" y="391"/>
                    </a:lnTo>
                    <a:lnTo>
                      <a:pt x="2306" y="481"/>
                    </a:lnTo>
                    <a:lnTo>
                      <a:pt x="2306" y="481"/>
                    </a:lnTo>
                    <a:lnTo>
                      <a:pt x="2306" y="481"/>
                    </a:lnTo>
                    <a:lnTo>
                      <a:pt x="2302" y="481"/>
                    </a:lnTo>
                    <a:lnTo>
                      <a:pt x="2297" y="481"/>
                    </a:lnTo>
                    <a:lnTo>
                      <a:pt x="2287" y="481"/>
                    </a:lnTo>
                    <a:lnTo>
                      <a:pt x="1653" y="481"/>
                    </a:lnTo>
                    <a:lnTo>
                      <a:pt x="1546" y="481"/>
                    </a:lnTo>
                    <a:lnTo>
                      <a:pt x="1425" y="481"/>
                    </a:lnTo>
                    <a:lnTo>
                      <a:pt x="1148" y="481"/>
                    </a:lnTo>
                    <a:lnTo>
                      <a:pt x="991" y="481"/>
                    </a:lnTo>
                    <a:lnTo>
                      <a:pt x="818" y="481"/>
                    </a:lnTo>
                    <a:lnTo>
                      <a:pt x="818" y="481"/>
                    </a:lnTo>
                    <a:lnTo>
                      <a:pt x="818" y="481"/>
                    </a:lnTo>
                    <a:lnTo>
                      <a:pt x="814" y="481"/>
                    </a:lnTo>
                    <a:lnTo>
                      <a:pt x="810" y="481"/>
                    </a:lnTo>
                    <a:lnTo>
                      <a:pt x="800" y="481"/>
                    </a:lnTo>
                    <a:lnTo>
                      <a:pt x="789" y="481"/>
                    </a:lnTo>
                    <a:lnTo>
                      <a:pt x="716" y="481"/>
                    </a:lnTo>
                    <a:lnTo>
                      <a:pt x="677" y="481"/>
                    </a:lnTo>
                    <a:lnTo>
                      <a:pt x="631" y="481"/>
                    </a:lnTo>
                    <a:lnTo>
                      <a:pt x="576" y="481"/>
                    </a:lnTo>
                    <a:lnTo>
                      <a:pt x="510" y="481"/>
                    </a:lnTo>
                    <a:lnTo>
                      <a:pt x="434" y="481"/>
                    </a:lnTo>
                    <a:lnTo>
                      <a:pt x="243" y="481"/>
                    </a:lnTo>
                    <a:lnTo>
                      <a:pt x="128" y="481"/>
                    </a:lnTo>
                    <a:lnTo>
                      <a:pt x="0" y="481"/>
                    </a:lnTo>
                    <a:lnTo>
                      <a:pt x="97" y="391"/>
                    </a:lnTo>
                    <a:lnTo>
                      <a:pt x="201" y="309"/>
                    </a:lnTo>
                    <a:lnTo>
                      <a:pt x="309" y="238"/>
                    </a:lnTo>
                    <a:lnTo>
                      <a:pt x="420" y="176"/>
                    </a:lnTo>
                    <a:lnTo>
                      <a:pt x="533" y="123"/>
                    </a:lnTo>
                    <a:lnTo>
                      <a:pt x="652" y="78"/>
                    </a:lnTo>
                    <a:lnTo>
                      <a:pt x="772" y="46"/>
                    </a:lnTo>
                    <a:lnTo>
                      <a:pt x="894" y="21"/>
                    </a:lnTo>
                    <a:lnTo>
                      <a:pt x="1017" y="6"/>
                    </a:lnTo>
                    <a:lnTo>
                      <a:pt x="1140"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3" name="Freeform 882"/>
              <p:cNvSpPr>
                <a:spLocks/>
              </p:cNvSpPr>
              <p:nvPr/>
            </p:nvSpPr>
            <p:spPr bwMode="auto">
              <a:xfrm>
                <a:off x="8704263" y="6178550"/>
                <a:ext cx="3838575" cy="800100"/>
              </a:xfrm>
              <a:custGeom>
                <a:avLst/>
                <a:gdLst>
                  <a:gd name="T0" fmla="*/ 1193 w 2418"/>
                  <a:gd name="T1" fmla="*/ 0 h 504"/>
                  <a:gd name="T2" fmla="*/ 1231 w 2418"/>
                  <a:gd name="T3" fmla="*/ 0 h 504"/>
                  <a:gd name="T4" fmla="*/ 1269 w 2418"/>
                  <a:gd name="T5" fmla="*/ 4 h 504"/>
                  <a:gd name="T6" fmla="*/ 1335 w 2418"/>
                  <a:gd name="T7" fmla="*/ 6 h 504"/>
                  <a:gd name="T8" fmla="*/ 1402 w 2418"/>
                  <a:gd name="T9" fmla="*/ 11 h 504"/>
                  <a:gd name="T10" fmla="*/ 1435 w 2418"/>
                  <a:gd name="T11" fmla="*/ 17 h 504"/>
                  <a:gd name="T12" fmla="*/ 1469 w 2418"/>
                  <a:gd name="T13" fmla="*/ 21 h 504"/>
                  <a:gd name="T14" fmla="*/ 1477 w 2418"/>
                  <a:gd name="T15" fmla="*/ 21 h 504"/>
                  <a:gd name="T16" fmla="*/ 1487 w 2418"/>
                  <a:gd name="T17" fmla="*/ 23 h 504"/>
                  <a:gd name="T18" fmla="*/ 1494 w 2418"/>
                  <a:gd name="T19" fmla="*/ 23 h 504"/>
                  <a:gd name="T20" fmla="*/ 1608 w 2418"/>
                  <a:gd name="T21" fmla="*/ 46 h 504"/>
                  <a:gd name="T22" fmla="*/ 1717 w 2418"/>
                  <a:gd name="T23" fmla="*/ 77 h 504"/>
                  <a:gd name="T24" fmla="*/ 1826 w 2418"/>
                  <a:gd name="T25" fmla="*/ 115 h 504"/>
                  <a:gd name="T26" fmla="*/ 1932 w 2418"/>
                  <a:gd name="T27" fmla="*/ 161 h 504"/>
                  <a:gd name="T28" fmla="*/ 2036 w 2418"/>
                  <a:gd name="T29" fmla="*/ 215 h 504"/>
                  <a:gd name="T30" fmla="*/ 2138 w 2418"/>
                  <a:gd name="T31" fmla="*/ 276 h 504"/>
                  <a:gd name="T32" fmla="*/ 2234 w 2418"/>
                  <a:gd name="T33" fmla="*/ 345 h 504"/>
                  <a:gd name="T34" fmla="*/ 2328 w 2418"/>
                  <a:gd name="T35" fmla="*/ 420 h 504"/>
                  <a:gd name="T36" fmla="*/ 2418 w 2418"/>
                  <a:gd name="T37" fmla="*/ 504 h 504"/>
                  <a:gd name="T38" fmla="*/ 2418 w 2418"/>
                  <a:gd name="T39" fmla="*/ 504 h 504"/>
                  <a:gd name="T40" fmla="*/ 2416 w 2418"/>
                  <a:gd name="T41" fmla="*/ 504 h 504"/>
                  <a:gd name="T42" fmla="*/ 2410 w 2418"/>
                  <a:gd name="T43" fmla="*/ 504 h 504"/>
                  <a:gd name="T44" fmla="*/ 2405 w 2418"/>
                  <a:gd name="T45" fmla="*/ 504 h 504"/>
                  <a:gd name="T46" fmla="*/ 2397 w 2418"/>
                  <a:gd name="T47" fmla="*/ 504 h 504"/>
                  <a:gd name="T48" fmla="*/ 1732 w 2418"/>
                  <a:gd name="T49" fmla="*/ 504 h 504"/>
                  <a:gd name="T50" fmla="*/ 1619 w 2418"/>
                  <a:gd name="T51" fmla="*/ 504 h 504"/>
                  <a:gd name="T52" fmla="*/ 1492 w 2418"/>
                  <a:gd name="T53" fmla="*/ 504 h 504"/>
                  <a:gd name="T54" fmla="*/ 1202 w 2418"/>
                  <a:gd name="T55" fmla="*/ 504 h 504"/>
                  <a:gd name="T56" fmla="*/ 1037 w 2418"/>
                  <a:gd name="T57" fmla="*/ 504 h 504"/>
                  <a:gd name="T58" fmla="*/ 857 w 2418"/>
                  <a:gd name="T59" fmla="*/ 504 h 504"/>
                  <a:gd name="T60" fmla="*/ 853 w 2418"/>
                  <a:gd name="T61" fmla="*/ 504 h 504"/>
                  <a:gd name="T62" fmla="*/ 849 w 2418"/>
                  <a:gd name="T63" fmla="*/ 504 h 504"/>
                  <a:gd name="T64" fmla="*/ 841 w 2418"/>
                  <a:gd name="T65" fmla="*/ 504 h 504"/>
                  <a:gd name="T66" fmla="*/ 766 w 2418"/>
                  <a:gd name="T67" fmla="*/ 504 h 504"/>
                  <a:gd name="T68" fmla="*/ 732 w 2418"/>
                  <a:gd name="T69" fmla="*/ 504 h 504"/>
                  <a:gd name="T70" fmla="*/ 691 w 2418"/>
                  <a:gd name="T71" fmla="*/ 504 h 504"/>
                  <a:gd name="T72" fmla="*/ 641 w 2418"/>
                  <a:gd name="T73" fmla="*/ 504 h 504"/>
                  <a:gd name="T74" fmla="*/ 582 w 2418"/>
                  <a:gd name="T75" fmla="*/ 504 h 504"/>
                  <a:gd name="T76" fmla="*/ 0 w 2418"/>
                  <a:gd name="T77" fmla="*/ 504 h 504"/>
                  <a:gd name="T78" fmla="*/ 94 w 2418"/>
                  <a:gd name="T79" fmla="*/ 418 h 504"/>
                  <a:gd name="T80" fmla="*/ 190 w 2418"/>
                  <a:gd name="T81" fmla="*/ 339 h 504"/>
                  <a:gd name="T82" fmla="*/ 292 w 2418"/>
                  <a:gd name="T83" fmla="*/ 268 h 504"/>
                  <a:gd name="T84" fmla="*/ 396 w 2418"/>
                  <a:gd name="T85" fmla="*/ 207 h 504"/>
                  <a:gd name="T86" fmla="*/ 503 w 2418"/>
                  <a:gd name="T87" fmla="*/ 153 h 504"/>
                  <a:gd name="T88" fmla="*/ 615 w 2418"/>
                  <a:gd name="T89" fmla="*/ 107 h 504"/>
                  <a:gd name="T90" fmla="*/ 728 w 2418"/>
                  <a:gd name="T91" fmla="*/ 71 h 504"/>
                  <a:gd name="T92" fmla="*/ 841 w 2418"/>
                  <a:gd name="T93" fmla="*/ 40 h 504"/>
                  <a:gd name="T94" fmla="*/ 958 w 2418"/>
                  <a:gd name="T95" fmla="*/ 19 h 504"/>
                  <a:gd name="T96" fmla="*/ 1076 w 2418"/>
                  <a:gd name="T97" fmla="*/ 6 h 504"/>
                  <a:gd name="T98" fmla="*/ 1193 w 2418"/>
                  <a:gd name="T9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8" h="504">
                    <a:moveTo>
                      <a:pt x="1193" y="0"/>
                    </a:moveTo>
                    <a:lnTo>
                      <a:pt x="1231" y="0"/>
                    </a:lnTo>
                    <a:lnTo>
                      <a:pt x="1269" y="4"/>
                    </a:lnTo>
                    <a:lnTo>
                      <a:pt x="1335" y="6"/>
                    </a:lnTo>
                    <a:lnTo>
                      <a:pt x="1402" y="11"/>
                    </a:lnTo>
                    <a:lnTo>
                      <a:pt x="1435" y="17"/>
                    </a:lnTo>
                    <a:lnTo>
                      <a:pt x="1469" y="21"/>
                    </a:lnTo>
                    <a:lnTo>
                      <a:pt x="1477" y="21"/>
                    </a:lnTo>
                    <a:lnTo>
                      <a:pt x="1487" y="23"/>
                    </a:lnTo>
                    <a:lnTo>
                      <a:pt x="1494" y="23"/>
                    </a:lnTo>
                    <a:lnTo>
                      <a:pt x="1608" y="46"/>
                    </a:lnTo>
                    <a:lnTo>
                      <a:pt x="1717" y="77"/>
                    </a:lnTo>
                    <a:lnTo>
                      <a:pt x="1826" y="115"/>
                    </a:lnTo>
                    <a:lnTo>
                      <a:pt x="1932" y="161"/>
                    </a:lnTo>
                    <a:lnTo>
                      <a:pt x="2036" y="215"/>
                    </a:lnTo>
                    <a:lnTo>
                      <a:pt x="2138" y="276"/>
                    </a:lnTo>
                    <a:lnTo>
                      <a:pt x="2234" y="345"/>
                    </a:lnTo>
                    <a:lnTo>
                      <a:pt x="2328" y="420"/>
                    </a:lnTo>
                    <a:lnTo>
                      <a:pt x="2418" y="504"/>
                    </a:lnTo>
                    <a:lnTo>
                      <a:pt x="2418" y="504"/>
                    </a:lnTo>
                    <a:lnTo>
                      <a:pt x="2416" y="504"/>
                    </a:lnTo>
                    <a:lnTo>
                      <a:pt x="2410" y="504"/>
                    </a:lnTo>
                    <a:lnTo>
                      <a:pt x="2405" y="504"/>
                    </a:lnTo>
                    <a:lnTo>
                      <a:pt x="2397" y="504"/>
                    </a:lnTo>
                    <a:lnTo>
                      <a:pt x="1732" y="504"/>
                    </a:lnTo>
                    <a:lnTo>
                      <a:pt x="1619" y="504"/>
                    </a:lnTo>
                    <a:lnTo>
                      <a:pt x="1492" y="504"/>
                    </a:lnTo>
                    <a:lnTo>
                      <a:pt x="1202" y="504"/>
                    </a:lnTo>
                    <a:lnTo>
                      <a:pt x="1037" y="504"/>
                    </a:lnTo>
                    <a:lnTo>
                      <a:pt x="857" y="504"/>
                    </a:lnTo>
                    <a:lnTo>
                      <a:pt x="853" y="504"/>
                    </a:lnTo>
                    <a:lnTo>
                      <a:pt x="849" y="504"/>
                    </a:lnTo>
                    <a:lnTo>
                      <a:pt x="841" y="504"/>
                    </a:lnTo>
                    <a:lnTo>
                      <a:pt x="766" y="504"/>
                    </a:lnTo>
                    <a:lnTo>
                      <a:pt x="732" y="504"/>
                    </a:lnTo>
                    <a:lnTo>
                      <a:pt x="691" y="504"/>
                    </a:lnTo>
                    <a:lnTo>
                      <a:pt x="641" y="504"/>
                    </a:lnTo>
                    <a:lnTo>
                      <a:pt x="582" y="504"/>
                    </a:lnTo>
                    <a:lnTo>
                      <a:pt x="0" y="504"/>
                    </a:lnTo>
                    <a:lnTo>
                      <a:pt x="94" y="418"/>
                    </a:lnTo>
                    <a:lnTo>
                      <a:pt x="190" y="339"/>
                    </a:lnTo>
                    <a:lnTo>
                      <a:pt x="292" y="268"/>
                    </a:lnTo>
                    <a:lnTo>
                      <a:pt x="396" y="207"/>
                    </a:lnTo>
                    <a:lnTo>
                      <a:pt x="503" y="153"/>
                    </a:lnTo>
                    <a:lnTo>
                      <a:pt x="615" y="107"/>
                    </a:lnTo>
                    <a:lnTo>
                      <a:pt x="728" y="71"/>
                    </a:lnTo>
                    <a:lnTo>
                      <a:pt x="841" y="40"/>
                    </a:lnTo>
                    <a:lnTo>
                      <a:pt x="958" y="19"/>
                    </a:lnTo>
                    <a:lnTo>
                      <a:pt x="1076" y="6"/>
                    </a:lnTo>
                    <a:lnTo>
                      <a:pt x="1193" y="0"/>
                    </a:lnTo>
                    <a:close/>
                  </a:path>
                </a:pathLst>
              </a:custGeom>
              <a:solidFill>
                <a:srgbClr val="79A500"/>
              </a:solidFill>
              <a:ln w="0">
                <a:solidFill>
                  <a:srgbClr val="63D800"/>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4" name="Rectangle 883"/>
              <p:cNvSpPr>
                <a:spLocks noChangeArrowheads="1"/>
              </p:cNvSpPr>
              <p:nvPr/>
            </p:nvSpPr>
            <p:spPr bwMode="auto">
              <a:xfrm>
                <a:off x="2481263" y="6908800"/>
                <a:ext cx="4046538" cy="66675"/>
              </a:xfrm>
              <a:prstGeom prst="rect">
                <a:avLst/>
              </a:prstGeom>
              <a:solidFill>
                <a:srgbClr val="004B1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65" name="Rectangle 884"/>
              <p:cNvSpPr>
                <a:spLocks noChangeArrowheads="1"/>
              </p:cNvSpPr>
              <p:nvPr/>
            </p:nvSpPr>
            <p:spPr bwMode="auto">
              <a:xfrm>
                <a:off x="5570538" y="6300788"/>
                <a:ext cx="69850"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66" name="Freeform 885"/>
              <p:cNvSpPr>
                <a:spLocks/>
              </p:cNvSpPr>
              <p:nvPr/>
            </p:nvSpPr>
            <p:spPr bwMode="auto">
              <a:xfrm>
                <a:off x="5429251" y="6022975"/>
                <a:ext cx="344488" cy="395288"/>
              </a:xfrm>
              <a:custGeom>
                <a:avLst/>
                <a:gdLst>
                  <a:gd name="T0" fmla="*/ 110 w 217"/>
                  <a:gd name="T1" fmla="*/ 0 h 249"/>
                  <a:gd name="T2" fmla="*/ 139 w 217"/>
                  <a:gd name="T3" fmla="*/ 4 h 249"/>
                  <a:gd name="T4" fmla="*/ 164 w 217"/>
                  <a:gd name="T5" fmla="*/ 17 h 249"/>
                  <a:gd name="T6" fmla="*/ 187 w 217"/>
                  <a:gd name="T7" fmla="*/ 36 h 249"/>
                  <a:gd name="T8" fmla="*/ 204 w 217"/>
                  <a:gd name="T9" fmla="*/ 61 h 249"/>
                  <a:gd name="T10" fmla="*/ 213 w 217"/>
                  <a:gd name="T11" fmla="*/ 92 h 249"/>
                  <a:gd name="T12" fmla="*/ 217 w 217"/>
                  <a:gd name="T13" fmla="*/ 125 h 249"/>
                  <a:gd name="T14" fmla="*/ 213 w 217"/>
                  <a:gd name="T15" fmla="*/ 157 h 249"/>
                  <a:gd name="T16" fmla="*/ 204 w 217"/>
                  <a:gd name="T17" fmla="*/ 188 h 249"/>
                  <a:gd name="T18" fmla="*/ 187 w 217"/>
                  <a:gd name="T19" fmla="*/ 213 h 249"/>
                  <a:gd name="T20" fmla="*/ 164 w 217"/>
                  <a:gd name="T21" fmla="*/ 232 h 249"/>
                  <a:gd name="T22" fmla="*/ 139 w 217"/>
                  <a:gd name="T23" fmla="*/ 246 h 249"/>
                  <a:gd name="T24" fmla="*/ 110 w 217"/>
                  <a:gd name="T25" fmla="*/ 249 h 249"/>
                  <a:gd name="T26" fmla="*/ 81 w 217"/>
                  <a:gd name="T27" fmla="*/ 246 h 249"/>
                  <a:gd name="T28" fmla="*/ 54 w 217"/>
                  <a:gd name="T29" fmla="*/ 232 h 249"/>
                  <a:gd name="T30" fmla="*/ 33 w 217"/>
                  <a:gd name="T31" fmla="*/ 213 h 249"/>
                  <a:gd name="T32" fmla="*/ 16 w 217"/>
                  <a:gd name="T33" fmla="*/ 188 h 249"/>
                  <a:gd name="T34" fmla="*/ 4 w 217"/>
                  <a:gd name="T35" fmla="*/ 157 h 249"/>
                  <a:gd name="T36" fmla="*/ 0 w 217"/>
                  <a:gd name="T37" fmla="*/ 125 h 249"/>
                  <a:gd name="T38" fmla="*/ 4 w 217"/>
                  <a:gd name="T39" fmla="*/ 92 h 249"/>
                  <a:gd name="T40" fmla="*/ 16 w 217"/>
                  <a:gd name="T41" fmla="*/ 61 h 249"/>
                  <a:gd name="T42" fmla="*/ 33 w 217"/>
                  <a:gd name="T43" fmla="*/ 36 h 249"/>
                  <a:gd name="T44" fmla="*/ 54 w 217"/>
                  <a:gd name="T45" fmla="*/ 17 h 249"/>
                  <a:gd name="T46" fmla="*/ 81 w 217"/>
                  <a:gd name="T47" fmla="*/ 4 h 249"/>
                  <a:gd name="T48" fmla="*/ 110 w 217"/>
                  <a:gd name="T49"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7" h="249">
                    <a:moveTo>
                      <a:pt x="110" y="0"/>
                    </a:moveTo>
                    <a:lnTo>
                      <a:pt x="139" y="4"/>
                    </a:lnTo>
                    <a:lnTo>
                      <a:pt x="164" y="17"/>
                    </a:lnTo>
                    <a:lnTo>
                      <a:pt x="187" y="36"/>
                    </a:lnTo>
                    <a:lnTo>
                      <a:pt x="204" y="61"/>
                    </a:lnTo>
                    <a:lnTo>
                      <a:pt x="213" y="92"/>
                    </a:lnTo>
                    <a:lnTo>
                      <a:pt x="217" y="125"/>
                    </a:lnTo>
                    <a:lnTo>
                      <a:pt x="213" y="157"/>
                    </a:lnTo>
                    <a:lnTo>
                      <a:pt x="204" y="188"/>
                    </a:lnTo>
                    <a:lnTo>
                      <a:pt x="187" y="213"/>
                    </a:lnTo>
                    <a:lnTo>
                      <a:pt x="164" y="232"/>
                    </a:lnTo>
                    <a:lnTo>
                      <a:pt x="139" y="246"/>
                    </a:lnTo>
                    <a:lnTo>
                      <a:pt x="110" y="249"/>
                    </a:lnTo>
                    <a:lnTo>
                      <a:pt x="81" y="246"/>
                    </a:lnTo>
                    <a:lnTo>
                      <a:pt x="54" y="232"/>
                    </a:lnTo>
                    <a:lnTo>
                      <a:pt x="33" y="213"/>
                    </a:lnTo>
                    <a:lnTo>
                      <a:pt x="16" y="188"/>
                    </a:lnTo>
                    <a:lnTo>
                      <a:pt x="4" y="157"/>
                    </a:lnTo>
                    <a:lnTo>
                      <a:pt x="0" y="125"/>
                    </a:lnTo>
                    <a:lnTo>
                      <a:pt x="4" y="92"/>
                    </a:lnTo>
                    <a:lnTo>
                      <a:pt x="16" y="61"/>
                    </a:lnTo>
                    <a:lnTo>
                      <a:pt x="33" y="36"/>
                    </a:lnTo>
                    <a:lnTo>
                      <a:pt x="54" y="17"/>
                    </a:lnTo>
                    <a:lnTo>
                      <a:pt x="81" y="4"/>
                    </a:lnTo>
                    <a:lnTo>
                      <a:pt x="110"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7" name="Freeform 886"/>
              <p:cNvSpPr>
                <a:spLocks/>
              </p:cNvSpPr>
              <p:nvPr/>
            </p:nvSpPr>
            <p:spPr bwMode="auto">
              <a:xfrm>
                <a:off x="5475288" y="5818188"/>
                <a:ext cx="255588" cy="290513"/>
              </a:xfrm>
              <a:custGeom>
                <a:avLst/>
                <a:gdLst>
                  <a:gd name="T0" fmla="*/ 81 w 161"/>
                  <a:gd name="T1" fmla="*/ 0 h 183"/>
                  <a:gd name="T2" fmla="*/ 106 w 161"/>
                  <a:gd name="T3" fmla="*/ 4 h 183"/>
                  <a:gd name="T4" fmla="*/ 129 w 161"/>
                  <a:gd name="T5" fmla="*/ 18 h 183"/>
                  <a:gd name="T6" fmla="*/ 146 w 161"/>
                  <a:gd name="T7" fmla="*/ 37 h 183"/>
                  <a:gd name="T8" fmla="*/ 158 w 161"/>
                  <a:gd name="T9" fmla="*/ 62 h 183"/>
                  <a:gd name="T10" fmla="*/ 161 w 161"/>
                  <a:gd name="T11" fmla="*/ 91 h 183"/>
                  <a:gd name="T12" fmla="*/ 158 w 161"/>
                  <a:gd name="T13" fmla="*/ 119 h 183"/>
                  <a:gd name="T14" fmla="*/ 146 w 161"/>
                  <a:gd name="T15" fmla="*/ 144 h 183"/>
                  <a:gd name="T16" fmla="*/ 129 w 161"/>
                  <a:gd name="T17" fmla="*/ 165 h 183"/>
                  <a:gd name="T18" fmla="*/ 106 w 161"/>
                  <a:gd name="T19" fmla="*/ 179 h 183"/>
                  <a:gd name="T20" fmla="*/ 81 w 161"/>
                  <a:gd name="T21" fmla="*/ 183 h 183"/>
                  <a:gd name="T22" fmla="*/ 56 w 161"/>
                  <a:gd name="T23" fmla="*/ 179 h 183"/>
                  <a:gd name="T24" fmla="*/ 33 w 161"/>
                  <a:gd name="T25" fmla="*/ 165 h 183"/>
                  <a:gd name="T26" fmla="*/ 15 w 161"/>
                  <a:gd name="T27" fmla="*/ 144 h 183"/>
                  <a:gd name="T28" fmla="*/ 4 w 161"/>
                  <a:gd name="T29" fmla="*/ 119 h 183"/>
                  <a:gd name="T30" fmla="*/ 0 w 161"/>
                  <a:gd name="T31" fmla="*/ 91 h 183"/>
                  <a:gd name="T32" fmla="*/ 4 w 161"/>
                  <a:gd name="T33" fmla="*/ 62 h 183"/>
                  <a:gd name="T34" fmla="*/ 15 w 161"/>
                  <a:gd name="T35" fmla="*/ 37 h 183"/>
                  <a:gd name="T36" fmla="*/ 33 w 161"/>
                  <a:gd name="T37" fmla="*/ 18 h 183"/>
                  <a:gd name="T38" fmla="*/ 56 w 161"/>
                  <a:gd name="T39" fmla="*/ 4 h 183"/>
                  <a:gd name="T40" fmla="*/ 81 w 161"/>
                  <a:gd name="T4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83">
                    <a:moveTo>
                      <a:pt x="81" y="0"/>
                    </a:moveTo>
                    <a:lnTo>
                      <a:pt x="106" y="4"/>
                    </a:lnTo>
                    <a:lnTo>
                      <a:pt x="129" y="18"/>
                    </a:lnTo>
                    <a:lnTo>
                      <a:pt x="146" y="37"/>
                    </a:lnTo>
                    <a:lnTo>
                      <a:pt x="158" y="62"/>
                    </a:lnTo>
                    <a:lnTo>
                      <a:pt x="161" y="91"/>
                    </a:lnTo>
                    <a:lnTo>
                      <a:pt x="158" y="119"/>
                    </a:lnTo>
                    <a:lnTo>
                      <a:pt x="146" y="144"/>
                    </a:lnTo>
                    <a:lnTo>
                      <a:pt x="129" y="165"/>
                    </a:lnTo>
                    <a:lnTo>
                      <a:pt x="106" y="179"/>
                    </a:lnTo>
                    <a:lnTo>
                      <a:pt x="81" y="183"/>
                    </a:lnTo>
                    <a:lnTo>
                      <a:pt x="56" y="179"/>
                    </a:lnTo>
                    <a:lnTo>
                      <a:pt x="33" y="165"/>
                    </a:lnTo>
                    <a:lnTo>
                      <a:pt x="15" y="144"/>
                    </a:lnTo>
                    <a:lnTo>
                      <a:pt x="4" y="119"/>
                    </a:lnTo>
                    <a:lnTo>
                      <a:pt x="0" y="91"/>
                    </a:lnTo>
                    <a:lnTo>
                      <a:pt x="4" y="62"/>
                    </a:lnTo>
                    <a:lnTo>
                      <a:pt x="15" y="37"/>
                    </a:lnTo>
                    <a:lnTo>
                      <a:pt x="33" y="18"/>
                    </a:lnTo>
                    <a:lnTo>
                      <a:pt x="56" y="4"/>
                    </a:lnTo>
                    <a:lnTo>
                      <a:pt x="81"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68" name="Rectangle 887"/>
              <p:cNvSpPr>
                <a:spLocks noChangeArrowheads="1"/>
              </p:cNvSpPr>
              <p:nvPr/>
            </p:nvSpPr>
            <p:spPr bwMode="auto">
              <a:xfrm>
                <a:off x="5057776" y="6556375"/>
                <a:ext cx="66675" cy="298450"/>
              </a:xfrm>
              <a:prstGeom prst="rect">
                <a:avLst/>
              </a:prstGeom>
              <a:solidFill>
                <a:srgbClr val="778D8D"/>
              </a:solidFill>
              <a:ln w="0">
                <a:solidFill>
                  <a:srgbClr val="778D8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69" name="Freeform 888"/>
              <p:cNvSpPr>
                <a:spLocks/>
              </p:cNvSpPr>
              <p:nvPr/>
            </p:nvSpPr>
            <p:spPr bwMode="auto">
              <a:xfrm>
                <a:off x="4918076" y="6278563"/>
                <a:ext cx="347663" cy="396875"/>
              </a:xfrm>
              <a:custGeom>
                <a:avLst/>
                <a:gdLst>
                  <a:gd name="T0" fmla="*/ 109 w 219"/>
                  <a:gd name="T1" fmla="*/ 0 h 250"/>
                  <a:gd name="T2" fmla="*/ 138 w 219"/>
                  <a:gd name="T3" fmla="*/ 4 h 250"/>
                  <a:gd name="T4" fmla="*/ 163 w 219"/>
                  <a:gd name="T5" fmla="*/ 15 h 250"/>
                  <a:gd name="T6" fmla="*/ 186 w 219"/>
                  <a:gd name="T7" fmla="*/ 37 h 250"/>
                  <a:gd name="T8" fmla="*/ 203 w 219"/>
                  <a:gd name="T9" fmla="*/ 61 h 250"/>
                  <a:gd name="T10" fmla="*/ 215 w 219"/>
                  <a:gd name="T11" fmla="*/ 92 h 250"/>
                  <a:gd name="T12" fmla="*/ 219 w 219"/>
                  <a:gd name="T13" fmla="*/ 125 h 250"/>
                  <a:gd name="T14" fmla="*/ 215 w 219"/>
                  <a:gd name="T15" fmla="*/ 157 h 250"/>
                  <a:gd name="T16" fmla="*/ 203 w 219"/>
                  <a:gd name="T17" fmla="*/ 188 h 250"/>
                  <a:gd name="T18" fmla="*/ 186 w 219"/>
                  <a:gd name="T19" fmla="*/ 213 h 250"/>
                  <a:gd name="T20" fmla="*/ 163 w 219"/>
                  <a:gd name="T21" fmla="*/ 232 h 250"/>
                  <a:gd name="T22" fmla="*/ 138 w 219"/>
                  <a:gd name="T23" fmla="*/ 246 h 250"/>
                  <a:gd name="T24" fmla="*/ 109 w 219"/>
                  <a:gd name="T25" fmla="*/ 250 h 250"/>
                  <a:gd name="T26" fmla="*/ 78 w 219"/>
                  <a:gd name="T27" fmla="*/ 246 h 250"/>
                  <a:gd name="T28" fmla="*/ 53 w 219"/>
                  <a:gd name="T29" fmla="*/ 232 h 250"/>
                  <a:gd name="T30" fmla="*/ 30 w 219"/>
                  <a:gd name="T31" fmla="*/ 213 h 250"/>
                  <a:gd name="T32" fmla="*/ 13 w 219"/>
                  <a:gd name="T33" fmla="*/ 188 h 250"/>
                  <a:gd name="T34" fmla="*/ 3 w 219"/>
                  <a:gd name="T35" fmla="*/ 157 h 250"/>
                  <a:gd name="T36" fmla="*/ 0 w 219"/>
                  <a:gd name="T37" fmla="*/ 125 h 250"/>
                  <a:gd name="T38" fmla="*/ 3 w 219"/>
                  <a:gd name="T39" fmla="*/ 92 h 250"/>
                  <a:gd name="T40" fmla="*/ 13 w 219"/>
                  <a:gd name="T41" fmla="*/ 61 h 250"/>
                  <a:gd name="T42" fmla="*/ 30 w 219"/>
                  <a:gd name="T43" fmla="*/ 37 h 250"/>
                  <a:gd name="T44" fmla="*/ 53 w 219"/>
                  <a:gd name="T45" fmla="*/ 15 h 250"/>
                  <a:gd name="T46" fmla="*/ 78 w 219"/>
                  <a:gd name="T47" fmla="*/ 4 h 250"/>
                  <a:gd name="T48" fmla="*/ 109 w 219"/>
                  <a:gd name="T4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250">
                    <a:moveTo>
                      <a:pt x="109" y="0"/>
                    </a:moveTo>
                    <a:lnTo>
                      <a:pt x="138" y="4"/>
                    </a:lnTo>
                    <a:lnTo>
                      <a:pt x="163" y="15"/>
                    </a:lnTo>
                    <a:lnTo>
                      <a:pt x="186" y="37"/>
                    </a:lnTo>
                    <a:lnTo>
                      <a:pt x="203" y="61"/>
                    </a:lnTo>
                    <a:lnTo>
                      <a:pt x="215" y="92"/>
                    </a:lnTo>
                    <a:lnTo>
                      <a:pt x="219" y="125"/>
                    </a:lnTo>
                    <a:lnTo>
                      <a:pt x="215" y="157"/>
                    </a:lnTo>
                    <a:lnTo>
                      <a:pt x="203" y="188"/>
                    </a:lnTo>
                    <a:lnTo>
                      <a:pt x="186" y="213"/>
                    </a:lnTo>
                    <a:lnTo>
                      <a:pt x="163" y="232"/>
                    </a:lnTo>
                    <a:lnTo>
                      <a:pt x="138" y="246"/>
                    </a:lnTo>
                    <a:lnTo>
                      <a:pt x="109" y="250"/>
                    </a:lnTo>
                    <a:lnTo>
                      <a:pt x="78" y="246"/>
                    </a:lnTo>
                    <a:lnTo>
                      <a:pt x="53" y="232"/>
                    </a:lnTo>
                    <a:lnTo>
                      <a:pt x="30" y="213"/>
                    </a:lnTo>
                    <a:lnTo>
                      <a:pt x="13" y="188"/>
                    </a:lnTo>
                    <a:lnTo>
                      <a:pt x="3" y="157"/>
                    </a:lnTo>
                    <a:lnTo>
                      <a:pt x="0" y="125"/>
                    </a:lnTo>
                    <a:lnTo>
                      <a:pt x="3" y="92"/>
                    </a:lnTo>
                    <a:lnTo>
                      <a:pt x="13" y="61"/>
                    </a:lnTo>
                    <a:lnTo>
                      <a:pt x="30" y="37"/>
                    </a:lnTo>
                    <a:lnTo>
                      <a:pt x="53" y="15"/>
                    </a:lnTo>
                    <a:lnTo>
                      <a:pt x="78" y="4"/>
                    </a:lnTo>
                    <a:lnTo>
                      <a:pt x="10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0" name="Freeform 889"/>
              <p:cNvSpPr>
                <a:spLocks/>
              </p:cNvSpPr>
              <p:nvPr/>
            </p:nvSpPr>
            <p:spPr bwMode="auto">
              <a:xfrm>
                <a:off x="11383963" y="3317875"/>
                <a:ext cx="930275" cy="487682"/>
              </a:xfrm>
              <a:custGeom>
                <a:avLst/>
                <a:gdLst>
                  <a:gd name="T0" fmla="*/ 256 w 586"/>
                  <a:gd name="T1" fmla="*/ 0 h 384"/>
                  <a:gd name="T2" fmla="*/ 298 w 586"/>
                  <a:gd name="T3" fmla="*/ 6 h 384"/>
                  <a:gd name="T4" fmla="*/ 334 w 586"/>
                  <a:gd name="T5" fmla="*/ 19 h 384"/>
                  <a:gd name="T6" fmla="*/ 365 w 586"/>
                  <a:gd name="T7" fmla="*/ 42 h 384"/>
                  <a:gd name="T8" fmla="*/ 390 w 586"/>
                  <a:gd name="T9" fmla="*/ 73 h 384"/>
                  <a:gd name="T10" fmla="*/ 404 w 586"/>
                  <a:gd name="T11" fmla="*/ 65 h 384"/>
                  <a:gd name="T12" fmla="*/ 417 w 586"/>
                  <a:gd name="T13" fmla="*/ 61 h 384"/>
                  <a:gd name="T14" fmla="*/ 434 w 586"/>
                  <a:gd name="T15" fmla="*/ 59 h 384"/>
                  <a:gd name="T16" fmla="*/ 453 w 586"/>
                  <a:gd name="T17" fmla="*/ 61 h 384"/>
                  <a:gd name="T18" fmla="*/ 471 w 586"/>
                  <a:gd name="T19" fmla="*/ 67 h 384"/>
                  <a:gd name="T20" fmla="*/ 486 w 586"/>
                  <a:gd name="T21" fmla="*/ 77 h 384"/>
                  <a:gd name="T22" fmla="*/ 507 w 586"/>
                  <a:gd name="T23" fmla="*/ 96 h 384"/>
                  <a:gd name="T24" fmla="*/ 521 w 586"/>
                  <a:gd name="T25" fmla="*/ 123 h 384"/>
                  <a:gd name="T26" fmla="*/ 526 w 586"/>
                  <a:gd name="T27" fmla="*/ 152 h 384"/>
                  <a:gd name="T28" fmla="*/ 549 w 586"/>
                  <a:gd name="T29" fmla="*/ 171 h 384"/>
                  <a:gd name="T30" fmla="*/ 569 w 586"/>
                  <a:gd name="T31" fmla="*/ 196 h 384"/>
                  <a:gd name="T32" fmla="*/ 580 w 586"/>
                  <a:gd name="T33" fmla="*/ 225 h 384"/>
                  <a:gd name="T34" fmla="*/ 586 w 586"/>
                  <a:gd name="T35" fmla="*/ 255 h 384"/>
                  <a:gd name="T36" fmla="*/ 582 w 586"/>
                  <a:gd name="T37" fmla="*/ 288 h 384"/>
                  <a:gd name="T38" fmla="*/ 571 w 586"/>
                  <a:gd name="T39" fmla="*/ 317 h 384"/>
                  <a:gd name="T40" fmla="*/ 553 w 586"/>
                  <a:gd name="T41" fmla="*/ 342 h 384"/>
                  <a:gd name="T42" fmla="*/ 530 w 586"/>
                  <a:gd name="T43" fmla="*/ 361 h 384"/>
                  <a:gd name="T44" fmla="*/ 503 w 586"/>
                  <a:gd name="T45" fmla="*/ 376 h 384"/>
                  <a:gd name="T46" fmla="*/ 473 w 586"/>
                  <a:gd name="T47" fmla="*/ 384 h 384"/>
                  <a:gd name="T48" fmla="*/ 444 w 586"/>
                  <a:gd name="T49" fmla="*/ 384 h 384"/>
                  <a:gd name="T50" fmla="*/ 409 w 586"/>
                  <a:gd name="T51" fmla="*/ 384 h 384"/>
                  <a:gd name="T52" fmla="*/ 365 w 586"/>
                  <a:gd name="T53" fmla="*/ 384 h 384"/>
                  <a:gd name="T54" fmla="*/ 267 w 586"/>
                  <a:gd name="T55" fmla="*/ 384 h 384"/>
                  <a:gd name="T56" fmla="*/ 221 w 586"/>
                  <a:gd name="T57" fmla="*/ 384 h 384"/>
                  <a:gd name="T58" fmla="*/ 183 w 586"/>
                  <a:gd name="T59" fmla="*/ 384 h 384"/>
                  <a:gd name="T60" fmla="*/ 152 w 586"/>
                  <a:gd name="T61" fmla="*/ 384 h 384"/>
                  <a:gd name="T62" fmla="*/ 133 w 586"/>
                  <a:gd name="T63" fmla="*/ 384 h 384"/>
                  <a:gd name="T64" fmla="*/ 119 w 586"/>
                  <a:gd name="T65" fmla="*/ 384 h 384"/>
                  <a:gd name="T66" fmla="*/ 113 w 586"/>
                  <a:gd name="T67" fmla="*/ 384 h 384"/>
                  <a:gd name="T68" fmla="*/ 112 w 586"/>
                  <a:gd name="T69" fmla="*/ 384 h 384"/>
                  <a:gd name="T70" fmla="*/ 112 w 586"/>
                  <a:gd name="T71" fmla="*/ 384 h 384"/>
                  <a:gd name="T72" fmla="*/ 75 w 586"/>
                  <a:gd name="T73" fmla="*/ 378 h 384"/>
                  <a:gd name="T74" fmla="*/ 46 w 586"/>
                  <a:gd name="T75" fmla="*/ 363 h 384"/>
                  <a:gd name="T76" fmla="*/ 21 w 586"/>
                  <a:gd name="T77" fmla="*/ 340 h 384"/>
                  <a:gd name="T78" fmla="*/ 6 w 586"/>
                  <a:gd name="T79" fmla="*/ 309 h 384"/>
                  <a:gd name="T80" fmla="*/ 0 w 586"/>
                  <a:gd name="T81" fmla="*/ 276 h 384"/>
                  <a:gd name="T82" fmla="*/ 6 w 586"/>
                  <a:gd name="T83" fmla="*/ 244 h 384"/>
                  <a:gd name="T84" fmla="*/ 19 w 586"/>
                  <a:gd name="T85" fmla="*/ 217 h 384"/>
                  <a:gd name="T86" fmla="*/ 39 w 586"/>
                  <a:gd name="T87" fmla="*/ 194 h 384"/>
                  <a:gd name="T88" fmla="*/ 65 w 586"/>
                  <a:gd name="T89" fmla="*/ 177 h 384"/>
                  <a:gd name="T90" fmla="*/ 96 w 586"/>
                  <a:gd name="T91" fmla="*/ 169 h 384"/>
                  <a:gd name="T92" fmla="*/ 96 w 586"/>
                  <a:gd name="T93" fmla="*/ 161 h 384"/>
                  <a:gd name="T94" fmla="*/ 102 w 586"/>
                  <a:gd name="T95" fmla="*/ 125 h 384"/>
                  <a:gd name="T96" fmla="*/ 113 w 586"/>
                  <a:gd name="T97" fmla="*/ 90 h 384"/>
                  <a:gd name="T98" fmla="*/ 131 w 586"/>
                  <a:gd name="T99" fmla="*/ 61 h 384"/>
                  <a:gd name="T100" fmla="*/ 156 w 586"/>
                  <a:gd name="T101" fmla="*/ 36 h 384"/>
                  <a:gd name="T102" fmla="*/ 185 w 586"/>
                  <a:gd name="T103" fmla="*/ 17 h 384"/>
                  <a:gd name="T104" fmla="*/ 219 w 586"/>
                  <a:gd name="T105" fmla="*/ 4 h 384"/>
                  <a:gd name="T106" fmla="*/ 256 w 586"/>
                  <a:gd name="T10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6" h="384">
                    <a:moveTo>
                      <a:pt x="256" y="0"/>
                    </a:moveTo>
                    <a:lnTo>
                      <a:pt x="298" y="6"/>
                    </a:lnTo>
                    <a:lnTo>
                      <a:pt x="334" y="19"/>
                    </a:lnTo>
                    <a:lnTo>
                      <a:pt x="365" y="42"/>
                    </a:lnTo>
                    <a:lnTo>
                      <a:pt x="390" y="73"/>
                    </a:lnTo>
                    <a:lnTo>
                      <a:pt x="404" y="65"/>
                    </a:lnTo>
                    <a:lnTo>
                      <a:pt x="417" y="61"/>
                    </a:lnTo>
                    <a:lnTo>
                      <a:pt x="434" y="59"/>
                    </a:lnTo>
                    <a:lnTo>
                      <a:pt x="453" y="61"/>
                    </a:lnTo>
                    <a:lnTo>
                      <a:pt x="471" y="67"/>
                    </a:lnTo>
                    <a:lnTo>
                      <a:pt x="486" y="77"/>
                    </a:lnTo>
                    <a:lnTo>
                      <a:pt x="507" y="96"/>
                    </a:lnTo>
                    <a:lnTo>
                      <a:pt x="521" y="123"/>
                    </a:lnTo>
                    <a:lnTo>
                      <a:pt x="526" y="152"/>
                    </a:lnTo>
                    <a:lnTo>
                      <a:pt x="549" y="171"/>
                    </a:lnTo>
                    <a:lnTo>
                      <a:pt x="569" y="196"/>
                    </a:lnTo>
                    <a:lnTo>
                      <a:pt x="580" y="225"/>
                    </a:lnTo>
                    <a:lnTo>
                      <a:pt x="586" y="255"/>
                    </a:lnTo>
                    <a:lnTo>
                      <a:pt x="582" y="288"/>
                    </a:lnTo>
                    <a:lnTo>
                      <a:pt x="571" y="317"/>
                    </a:lnTo>
                    <a:lnTo>
                      <a:pt x="553" y="342"/>
                    </a:lnTo>
                    <a:lnTo>
                      <a:pt x="530" y="361"/>
                    </a:lnTo>
                    <a:lnTo>
                      <a:pt x="503" y="376"/>
                    </a:lnTo>
                    <a:lnTo>
                      <a:pt x="473" y="384"/>
                    </a:lnTo>
                    <a:lnTo>
                      <a:pt x="444" y="384"/>
                    </a:lnTo>
                    <a:lnTo>
                      <a:pt x="409" y="384"/>
                    </a:lnTo>
                    <a:lnTo>
                      <a:pt x="365" y="384"/>
                    </a:lnTo>
                    <a:lnTo>
                      <a:pt x="267" y="384"/>
                    </a:lnTo>
                    <a:lnTo>
                      <a:pt x="221" y="384"/>
                    </a:lnTo>
                    <a:lnTo>
                      <a:pt x="183" y="384"/>
                    </a:lnTo>
                    <a:lnTo>
                      <a:pt x="152" y="384"/>
                    </a:lnTo>
                    <a:lnTo>
                      <a:pt x="133" y="384"/>
                    </a:lnTo>
                    <a:lnTo>
                      <a:pt x="119" y="384"/>
                    </a:lnTo>
                    <a:lnTo>
                      <a:pt x="113" y="384"/>
                    </a:lnTo>
                    <a:lnTo>
                      <a:pt x="112" y="384"/>
                    </a:lnTo>
                    <a:lnTo>
                      <a:pt x="112" y="384"/>
                    </a:lnTo>
                    <a:lnTo>
                      <a:pt x="75" y="378"/>
                    </a:lnTo>
                    <a:lnTo>
                      <a:pt x="46" y="363"/>
                    </a:lnTo>
                    <a:lnTo>
                      <a:pt x="21" y="340"/>
                    </a:lnTo>
                    <a:lnTo>
                      <a:pt x="6" y="309"/>
                    </a:lnTo>
                    <a:lnTo>
                      <a:pt x="0" y="276"/>
                    </a:lnTo>
                    <a:lnTo>
                      <a:pt x="6" y="244"/>
                    </a:lnTo>
                    <a:lnTo>
                      <a:pt x="19" y="217"/>
                    </a:lnTo>
                    <a:lnTo>
                      <a:pt x="39" y="194"/>
                    </a:lnTo>
                    <a:lnTo>
                      <a:pt x="65" y="177"/>
                    </a:lnTo>
                    <a:lnTo>
                      <a:pt x="96" y="169"/>
                    </a:lnTo>
                    <a:lnTo>
                      <a:pt x="96" y="161"/>
                    </a:lnTo>
                    <a:lnTo>
                      <a:pt x="102" y="125"/>
                    </a:lnTo>
                    <a:lnTo>
                      <a:pt x="113" y="90"/>
                    </a:lnTo>
                    <a:lnTo>
                      <a:pt x="131" y="61"/>
                    </a:lnTo>
                    <a:lnTo>
                      <a:pt x="156" y="36"/>
                    </a:lnTo>
                    <a:lnTo>
                      <a:pt x="185" y="17"/>
                    </a:lnTo>
                    <a:lnTo>
                      <a:pt x="219" y="4"/>
                    </a:lnTo>
                    <a:lnTo>
                      <a:pt x="256"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1" name="Freeform 890"/>
              <p:cNvSpPr>
                <a:spLocks/>
              </p:cNvSpPr>
              <p:nvPr/>
            </p:nvSpPr>
            <p:spPr bwMode="auto">
              <a:xfrm>
                <a:off x="4962526" y="6072188"/>
                <a:ext cx="254000" cy="292100"/>
              </a:xfrm>
              <a:custGeom>
                <a:avLst/>
                <a:gdLst>
                  <a:gd name="T0" fmla="*/ 79 w 160"/>
                  <a:gd name="T1" fmla="*/ 0 h 184"/>
                  <a:gd name="T2" fmla="*/ 104 w 160"/>
                  <a:gd name="T3" fmla="*/ 5 h 184"/>
                  <a:gd name="T4" fmla="*/ 127 w 160"/>
                  <a:gd name="T5" fmla="*/ 19 h 184"/>
                  <a:gd name="T6" fmla="*/ 144 w 160"/>
                  <a:gd name="T7" fmla="*/ 38 h 184"/>
                  <a:gd name="T8" fmla="*/ 156 w 160"/>
                  <a:gd name="T9" fmla="*/ 63 h 184"/>
                  <a:gd name="T10" fmla="*/ 160 w 160"/>
                  <a:gd name="T11" fmla="*/ 92 h 184"/>
                  <a:gd name="T12" fmla="*/ 156 w 160"/>
                  <a:gd name="T13" fmla="*/ 120 h 184"/>
                  <a:gd name="T14" fmla="*/ 144 w 160"/>
                  <a:gd name="T15" fmla="*/ 145 h 184"/>
                  <a:gd name="T16" fmla="*/ 127 w 160"/>
                  <a:gd name="T17" fmla="*/ 167 h 184"/>
                  <a:gd name="T18" fmla="*/ 104 w 160"/>
                  <a:gd name="T19" fmla="*/ 178 h 184"/>
                  <a:gd name="T20" fmla="*/ 79 w 160"/>
                  <a:gd name="T21" fmla="*/ 184 h 184"/>
                  <a:gd name="T22" fmla="*/ 54 w 160"/>
                  <a:gd name="T23" fmla="*/ 178 h 184"/>
                  <a:gd name="T24" fmla="*/ 33 w 160"/>
                  <a:gd name="T25" fmla="*/ 167 h 184"/>
                  <a:gd name="T26" fmla="*/ 16 w 160"/>
                  <a:gd name="T27" fmla="*/ 145 h 184"/>
                  <a:gd name="T28" fmla="*/ 4 w 160"/>
                  <a:gd name="T29" fmla="*/ 120 h 184"/>
                  <a:gd name="T30" fmla="*/ 0 w 160"/>
                  <a:gd name="T31" fmla="*/ 92 h 184"/>
                  <a:gd name="T32" fmla="*/ 4 w 160"/>
                  <a:gd name="T33" fmla="*/ 63 h 184"/>
                  <a:gd name="T34" fmla="*/ 16 w 160"/>
                  <a:gd name="T35" fmla="*/ 38 h 184"/>
                  <a:gd name="T36" fmla="*/ 33 w 160"/>
                  <a:gd name="T37" fmla="*/ 19 h 184"/>
                  <a:gd name="T38" fmla="*/ 54 w 160"/>
                  <a:gd name="T39" fmla="*/ 5 h 184"/>
                  <a:gd name="T40" fmla="*/ 79 w 160"/>
                  <a:gd name="T4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84">
                    <a:moveTo>
                      <a:pt x="79" y="0"/>
                    </a:moveTo>
                    <a:lnTo>
                      <a:pt x="104" y="5"/>
                    </a:lnTo>
                    <a:lnTo>
                      <a:pt x="127" y="19"/>
                    </a:lnTo>
                    <a:lnTo>
                      <a:pt x="144" y="38"/>
                    </a:lnTo>
                    <a:lnTo>
                      <a:pt x="156" y="63"/>
                    </a:lnTo>
                    <a:lnTo>
                      <a:pt x="160" y="92"/>
                    </a:lnTo>
                    <a:lnTo>
                      <a:pt x="156" y="120"/>
                    </a:lnTo>
                    <a:lnTo>
                      <a:pt x="144" y="145"/>
                    </a:lnTo>
                    <a:lnTo>
                      <a:pt x="127" y="167"/>
                    </a:lnTo>
                    <a:lnTo>
                      <a:pt x="104" y="178"/>
                    </a:lnTo>
                    <a:lnTo>
                      <a:pt x="79" y="184"/>
                    </a:lnTo>
                    <a:lnTo>
                      <a:pt x="54" y="178"/>
                    </a:lnTo>
                    <a:lnTo>
                      <a:pt x="33" y="167"/>
                    </a:lnTo>
                    <a:lnTo>
                      <a:pt x="16" y="145"/>
                    </a:lnTo>
                    <a:lnTo>
                      <a:pt x="4" y="120"/>
                    </a:lnTo>
                    <a:lnTo>
                      <a:pt x="0" y="92"/>
                    </a:lnTo>
                    <a:lnTo>
                      <a:pt x="4" y="63"/>
                    </a:lnTo>
                    <a:lnTo>
                      <a:pt x="16" y="38"/>
                    </a:lnTo>
                    <a:lnTo>
                      <a:pt x="33" y="19"/>
                    </a:lnTo>
                    <a:lnTo>
                      <a:pt x="54" y="5"/>
                    </a:lnTo>
                    <a:lnTo>
                      <a:pt x="79" y="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2" name="Freeform 891"/>
              <p:cNvSpPr>
                <a:spLocks/>
              </p:cNvSpPr>
              <p:nvPr/>
            </p:nvSpPr>
            <p:spPr bwMode="auto">
              <a:xfrm>
                <a:off x="5524501" y="5748338"/>
                <a:ext cx="5902325" cy="1230313"/>
              </a:xfrm>
              <a:custGeom>
                <a:avLst/>
                <a:gdLst>
                  <a:gd name="T0" fmla="*/ 1838 w 3718"/>
                  <a:gd name="T1" fmla="*/ 0 h 775"/>
                  <a:gd name="T2" fmla="*/ 1894 w 3718"/>
                  <a:gd name="T3" fmla="*/ 0 h 775"/>
                  <a:gd name="T4" fmla="*/ 1951 w 3718"/>
                  <a:gd name="T5" fmla="*/ 4 h 775"/>
                  <a:gd name="T6" fmla="*/ 2053 w 3718"/>
                  <a:gd name="T7" fmla="*/ 8 h 775"/>
                  <a:gd name="T8" fmla="*/ 2157 w 3718"/>
                  <a:gd name="T9" fmla="*/ 17 h 775"/>
                  <a:gd name="T10" fmla="*/ 2207 w 3718"/>
                  <a:gd name="T11" fmla="*/ 23 h 775"/>
                  <a:gd name="T12" fmla="*/ 2258 w 3718"/>
                  <a:gd name="T13" fmla="*/ 33 h 775"/>
                  <a:gd name="T14" fmla="*/ 2278 w 3718"/>
                  <a:gd name="T15" fmla="*/ 35 h 775"/>
                  <a:gd name="T16" fmla="*/ 2299 w 3718"/>
                  <a:gd name="T17" fmla="*/ 39 h 775"/>
                  <a:gd name="T18" fmla="*/ 2454 w 3718"/>
                  <a:gd name="T19" fmla="*/ 69 h 775"/>
                  <a:gd name="T20" fmla="*/ 2608 w 3718"/>
                  <a:gd name="T21" fmla="*/ 110 h 775"/>
                  <a:gd name="T22" fmla="*/ 2758 w 3718"/>
                  <a:gd name="T23" fmla="*/ 159 h 775"/>
                  <a:gd name="T24" fmla="*/ 2908 w 3718"/>
                  <a:gd name="T25" fmla="*/ 219 h 775"/>
                  <a:gd name="T26" fmla="*/ 3052 w 3718"/>
                  <a:gd name="T27" fmla="*/ 288 h 775"/>
                  <a:gd name="T28" fmla="*/ 3194 w 3718"/>
                  <a:gd name="T29" fmla="*/ 367 h 775"/>
                  <a:gd name="T30" fmla="*/ 3332 w 3718"/>
                  <a:gd name="T31" fmla="*/ 453 h 775"/>
                  <a:gd name="T32" fmla="*/ 3466 w 3718"/>
                  <a:gd name="T33" fmla="*/ 551 h 775"/>
                  <a:gd name="T34" fmla="*/ 3595 w 3718"/>
                  <a:gd name="T35" fmla="*/ 658 h 775"/>
                  <a:gd name="T36" fmla="*/ 3718 w 3718"/>
                  <a:gd name="T37" fmla="*/ 775 h 775"/>
                  <a:gd name="T38" fmla="*/ 3708 w 3718"/>
                  <a:gd name="T39" fmla="*/ 775 h 775"/>
                  <a:gd name="T40" fmla="*/ 3701 w 3718"/>
                  <a:gd name="T41" fmla="*/ 775 h 775"/>
                  <a:gd name="T42" fmla="*/ 3691 w 3718"/>
                  <a:gd name="T43" fmla="*/ 775 h 775"/>
                  <a:gd name="T44" fmla="*/ 3165 w 3718"/>
                  <a:gd name="T45" fmla="*/ 775 h 775"/>
                  <a:gd name="T46" fmla="*/ 3073 w 3718"/>
                  <a:gd name="T47" fmla="*/ 775 h 775"/>
                  <a:gd name="T48" fmla="*/ 2971 w 3718"/>
                  <a:gd name="T49" fmla="*/ 775 h 775"/>
                  <a:gd name="T50" fmla="*/ 2604 w 3718"/>
                  <a:gd name="T51" fmla="*/ 775 h 775"/>
                  <a:gd name="T52" fmla="*/ 2458 w 3718"/>
                  <a:gd name="T53" fmla="*/ 775 h 775"/>
                  <a:gd name="T54" fmla="*/ 2301 w 3718"/>
                  <a:gd name="T55" fmla="*/ 775 h 775"/>
                  <a:gd name="T56" fmla="*/ 2130 w 3718"/>
                  <a:gd name="T57" fmla="*/ 775 h 775"/>
                  <a:gd name="T58" fmla="*/ 1129 w 3718"/>
                  <a:gd name="T59" fmla="*/ 775 h 775"/>
                  <a:gd name="T60" fmla="*/ 1077 w 3718"/>
                  <a:gd name="T61" fmla="*/ 775 h 775"/>
                  <a:gd name="T62" fmla="*/ 951 w 3718"/>
                  <a:gd name="T63" fmla="*/ 775 h 775"/>
                  <a:gd name="T64" fmla="*/ 872 w 3718"/>
                  <a:gd name="T65" fmla="*/ 775 h 775"/>
                  <a:gd name="T66" fmla="*/ 574 w 3718"/>
                  <a:gd name="T67" fmla="*/ 775 h 775"/>
                  <a:gd name="T68" fmla="*/ 451 w 3718"/>
                  <a:gd name="T69" fmla="*/ 775 h 775"/>
                  <a:gd name="T70" fmla="*/ 315 w 3718"/>
                  <a:gd name="T71" fmla="*/ 775 h 775"/>
                  <a:gd name="T72" fmla="*/ 165 w 3718"/>
                  <a:gd name="T73" fmla="*/ 775 h 775"/>
                  <a:gd name="T74" fmla="*/ 0 w 3718"/>
                  <a:gd name="T75" fmla="*/ 775 h 775"/>
                  <a:gd name="T76" fmla="*/ 121 w 3718"/>
                  <a:gd name="T77" fmla="*/ 660 h 775"/>
                  <a:gd name="T78" fmla="*/ 246 w 3718"/>
                  <a:gd name="T79" fmla="*/ 557 h 775"/>
                  <a:gd name="T80" fmla="*/ 374 w 3718"/>
                  <a:gd name="T81" fmla="*/ 461 h 775"/>
                  <a:gd name="T82" fmla="*/ 509 w 3718"/>
                  <a:gd name="T83" fmla="*/ 374 h 775"/>
                  <a:gd name="T84" fmla="*/ 645 w 3718"/>
                  <a:gd name="T85" fmla="*/ 298 h 775"/>
                  <a:gd name="T86" fmla="*/ 787 w 3718"/>
                  <a:gd name="T87" fmla="*/ 229 h 775"/>
                  <a:gd name="T88" fmla="*/ 931 w 3718"/>
                  <a:gd name="T89" fmla="*/ 169 h 775"/>
                  <a:gd name="T90" fmla="*/ 1077 w 3718"/>
                  <a:gd name="T91" fmla="*/ 119 h 775"/>
                  <a:gd name="T92" fmla="*/ 1227 w 3718"/>
                  <a:gd name="T93" fmla="*/ 77 h 775"/>
                  <a:gd name="T94" fmla="*/ 1379 w 3718"/>
                  <a:gd name="T95" fmla="*/ 44 h 775"/>
                  <a:gd name="T96" fmla="*/ 1531 w 3718"/>
                  <a:gd name="T97" fmla="*/ 21 h 775"/>
                  <a:gd name="T98" fmla="*/ 1684 w 3718"/>
                  <a:gd name="T99" fmla="*/ 6 h 775"/>
                  <a:gd name="T100" fmla="*/ 1838 w 3718"/>
                  <a:gd name="T101" fmla="*/ 0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18" h="775">
                    <a:moveTo>
                      <a:pt x="1838" y="0"/>
                    </a:moveTo>
                    <a:lnTo>
                      <a:pt x="1894" y="0"/>
                    </a:lnTo>
                    <a:lnTo>
                      <a:pt x="1951" y="4"/>
                    </a:lnTo>
                    <a:lnTo>
                      <a:pt x="2053" y="8"/>
                    </a:lnTo>
                    <a:lnTo>
                      <a:pt x="2157" y="17"/>
                    </a:lnTo>
                    <a:lnTo>
                      <a:pt x="2207" y="23"/>
                    </a:lnTo>
                    <a:lnTo>
                      <a:pt x="2258" y="33"/>
                    </a:lnTo>
                    <a:lnTo>
                      <a:pt x="2278" y="35"/>
                    </a:lnTo>
                    <a:lnTo>
                      <a:pt x="2299" y="39"/>
                    </a:lnTo>
                    <a:lnTo>
                      <a:pt x="2454" y="69"/>
                    </a:lnTo>
                    <a:lnTo>
                      <a:pt x="2608" y="110"/>
                    </a:lnTo>
                    <a:lnTo>
                      <a:pt x="2758" y="159"/>
                    </a:lnTo>
                    <a:lnTo>
                      <a:pt x="2908" y="219"/>
                    </a:lnTo>
                    <a:lnTo>
                      <a:pt x="3052" y="288"/>
                    </a:lnTo>
                    <a:lnTo>
                      <a:pt x="3194" y="367"/>
                    </a:lnTo>
                    <a:lnTo>
                      <a:pt x="3332" y="453"/>
                    </a:lnTo>
                    <a:lnTo>
                      <a:pt x="3466" y="551"/>
                    </a:lnTo>
                    <a:lnTo>
                      <a:pt x="3595" y="658"/>
                    </a:lnTo>
                    <a:lnTo>
                      <a:pt x="3718" y="775"/>
                    </a:lnTo>
                    <a:lnTo>
                      <a:pt x="3708" y="775"/>
                    </a:lnTo>
                    <a:lnTo>
                      <a:pt x="3701" y="775"/>
                    </a:lnTo>
                    <a:lnTo>
                      <a:pt x="3691" y="775"/>
                    </a:lnTo>
                    <a:lnTo>
                      <a:pt x="3165" y="775"/>
                    </a:lnTo>
                    <a:lnTo>
                      <a:pt x="3073" y="775"/>
                    </a:lnTo>
                    <a:lnTo>
                      <a:pt x="2971" y="775"/>
                    </a:lnTo>
                    <a:lnTo>
                      <a:pt x="2604" y="775"/>
                    </a:lnTo>
                    <a:lnTo>
                      <a:pt x="2458" y="775"/>
                    </a:lnTo>
                    <a:lnTo>
                      <a:pt x="2301" y="775"/>
                    </a:lnTo>
                    <a:lnTo>
                      <a:pt x="2130" y="775"/>
                    </a:lnTo>
                    <a:lnTo>
                      <a:pt x="1129" y="775"/>
                    </a:lnTo>
                    <a:lnTo>
                      <a:pt x="1077" y="775"/>
                    </a:lnTo>
                    <a:lnTo>
                      <a:pt x="951" y="775"/>
                    </a:lnTo>
                    <a:lnTo>
                      <a:pt x="872" y="775"/>
                    </a:lnTo>
                    <a:lnTo>
                      <a:pt x="574" y="775"/>
                    </a:lnTo>
                    <a:lnTo>
                      <a:pt x="451" y="775"/>
                    </a:lnTo>
                    <a:lnTo>
                      <a:pt x="315" y="775"/>
                    </a:lnTo>
                    <a:lnTo>
                      <a:pt x="165" y="775"/>
                    </a:lnTo>
                    <a:lnTo>
                      <a:pt x="0" y="775"/>
                    </a:lnTo>
                    <a:lnTo>
                      <a:pt x="121" y="660"/>
                    </a:lnTo>
                    <a:lnTo>
                      <a:pt x="246" y="557"/>
                    </a:lnTo>
                    <a:lnTo>
                      <a:pt x="374" y="461"/>
                    </a:lnTo>
                    <a:lnTo>
                      <a:pt x="509" y="374"/>
                    </a:lnTo>
                    <a:lnTo>
                      <a:pt x="645" y="298"/>
                    </a:lnTo>
                    <a:lnTo>
                      <a:pt x="787" y="229"/>
                    </a:lnTo>
                    <a:lnTo>
                      <a:pt x="931" y="169"/>
                    </a:lnTo>
                    <a:lnTo>
                      <a:pt x="1077" y="119"/>
                    </a:lnTo>
                    <a:lnTo>
                      <a:pt x="1227" y="77"/>
                    </a:lnTo>
                    <a:lnTo>
                      <a:pt x="1379" y="44"/>
                    </a:lnTo>
                    <a:lnTo>
                      <a:pt x="1531" y="21"/>
                    </a:lnTo>
                    <a:lnTo>
                      <a:pt x="1684" y="6"/>
                    </a:lnTo>
                    <a:lnTo>
                      <a:pt x="1838"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3" name="Freeform 892"/>
              <p:cNvSpPr>
                <a:spLocks/>
              </p:cNvSpPr>
              <p:nvPr/>
            </p:nvSpPr>
            <p:spPr bwMode="auto">
              <a:xfrm>
                <a:off x="6643688" y="5754688"/>
                <a:ext cx="2103438" cy="1223963"/>
              </a:xfrm>
              <a:custGeom>
                <a:avLst/>
                <a:gdLst>
                  <a:gd name="T0" fmla="*/ 1304 w 1325"/>
                  <a:gd name="T1" fmla="*/ 0 h 771"/>
                  <a:gd name="T2" fmla="*/ 1325 w 1325"/>
                  <a:gd name="T3" fmla="*/ 0 h 771"/>
                  <a:gd name="T4" fmla="*/ 1240 w 1325"/>
                  <a:gd name="T5" fmla="*/ 27 h 771"/>
                  <a:gd name="T6" fmla="*/ 1158 w 1325"/>
                  <a:gd name="T7" fmla="*/ 60 h 771"/>
                  <a:gd name="T8" fmla="*/ 1079 w 1325"/>
                  <a:gd name="T9" fmla="*/ 98 h 771"/>
                  <a:gd name="T10" fmla="*/ 1000 w 1325"/>
                  <a:gd name="T11" fmla="*/ 138 h 771"/>
                  <a:gd name="T12" fmla="*/ 925 w 1325"/>
                  <a:gd name="T13" fmla="*/ 182 h 771"/>
                  <a:gd name="T14" fmla="*/ 852 w 1325"/>
                  <a:gd name="T15" fmla="*/ 228 h 771"/>
                  <a:gd name="T16" fmla="*/ 781 w 1325"/>
                  <a:gd name="T17" fmla="*/ 276 h 771"/>
                  <a:gd name="T18" fmla="*/ 714 w 1325"/>
                  <a:gd name="T19" fmla="*/ 326 h 771"/>
                  <a:gd name="T20" fmla="*/ 651 w 1325"/>
                  <a:gd name="T21" fmla="*/ 376 h 771"/>
                  <a:gd name="T22" fmla="*/ 591 w 1325"/>
                  <a:gd name="T23" fmla="*/ 426 h 771"/>
                  <a:gd name="T24" fmla="*/ 536 w 1325"/>
                  <a:gd name="T25" fmla="*/ 476 h 771"/>
                  <a:gd name="T26" fmla="*/ 484 w 1325"/>
                  <a:gd name="T27" fmla="*/ 522 h 771"/>
                  <a:gd name="T28" fmla="*/ 438 w 1325"/>
                  <a:gd name="T29" fmla="*/ 568 h 771"/>
                  <a:gd name="T30" fmla="*/ 395 w 1325"/>
                  <a:gd name="T31" fmla="*/ 610 h 771"/>
                  <a:gd name="T32" fmla="*/ 357 w 1325"/>
                  <a:gd name="T33" fmla="*/ 649 h 771"/>
                  <a:gd name="T34" fmla="*/ 324 w 1325"/>
                  <a:gd name="T35" fmla="*/ 683 h 771"/>
                  <a:gd name="T36" fmla="*/ 297 w 1325"/>
                  <a:gd name="T37" fmla="*/ 714 h 771"/>
                  <a:gd name="T38" fmla="*/ 276 w 1325"/>
                  <a:gd name="T39" fmla="*/ 737 h 771"/>
                  <a:gd name="T40" fmla="*/ 261 w 1325"/>
                  <a:gd name="T41" fmla="*/ 756 h 771"/>
                  <a:gd name="T42" fmla="*/ 251 w 1325"/>
                  <a:gd name="T43" fmla="*/ 768 h 771"/>
                  <a:gd name="T44" fmla="*/ 247 w 1325"/>
                  <a:gd name="T45" fmla="*/ 771 h 771"/>
                  <a:gd name="T46" fmla="*/ 247 w 1325"/>
                  <a:gd name="T47" fmla="*/ 771 h 771"/>
                  <a:gd name="T48" fmla="*/ 246 w 1325"/>
                  <a:gd name="T49" fmla="*/ 771 h 771"/>
                  <a:gd name="T50" fmla="*/ 240 w 1325"/>
                  <a:gd name="T51" fmla="*/ 771 h 771"/>
                  <a:gd name="T52" fmla="*/ 163 w 1325"/>
                  <a:gd name="T53" fmla="*/ 771 h 771"/>
                  <a:gd name="T54" fmla="*/ 121 w 1325"/>
                  <a:gd name="T55" fmla="*/ 771 h 771"/>
                  <a:gd name="T56" fmla="*/ 67 w 1325"/>
                  <a:gd name="T57" fmla="*/ 771 h 771"/>
                  <a:gd name="T58" fmla="*/ 0 w 1325"/>
                  <a:gd name="T59" fmla="*/ 771 h 771"/>
                  <a:gd name="T60" fmla="*/ 4 w 1325"/>
                  <a:gd name="T61" fmla="*/ 768 h 771"/>
                  <a:gd name="T62" fmla="*/ 13 w 1325"/>
                  <a:gd name="T63" fmla="*/ 756 h 771"/>
                  <a:gd name="T64" fmla="*/ 28 w 1325"/>
                  <a:gd name="T65" fmla="*/ 739 h 771"/>
                  <a:gd name="T66" fmla="*/ 50 w 1325"/>
                  <a:gd name="T67" fmla="*/ 716 h 771"/>
                  <a:gd name="T68" fmla="*/ 76 w 1325"/>
                  <a:gd name="T69" fmla="*/ 687 h 771"/>
                  <a:gd name="T70" fmla="*/ 111 w 1325"/>
                  <a:gd name="T71" fmla="*/ 654 h 771"/>
                  <a:gd name="T72" fmla="*/ 149 w 1325"/>
                  <a:gd name="T73" fmla="*/ 618 h 771"/>
                  <a:gd name="T74" fmla="*/ 194 w 1325"/>
                  <a:gd name="T75" fmla="*/ 576 h 771"/>
                  <a:gd name="T76" fmla="*/ 242 w 1325"/>
                  <a:gd name="T77" fmla="*/ 533 h 771"/>
                  <a:gd name="T78" fmla="*/ 297 w 1325"/>
                  <a:gd name="T79" fmla="*/ 487 h 771"/>
                  <a:gd name="T80" fmla="*/ 357 w 1325"/>
                  <a:gd name="T81" fmla="*/ 441 h 771"/>
                  <a:gd name="T82" fmla="*/ 420 w 1325"/>
                  <a:gd name="T83" fmla="*/ 393 h 771"/>
                  <a:gd name="T84" fmla="*/ 489 w 1325"/>
                  <a:gd name="T85" fmla="*/ 345 h 771"/>
                  <a:gd name="T86" fmla="*/ 562 w 1325"/>
                  <a:gd name="T87" fmla="*/ 297 h 771"/>
                  <a:gd name="T88" fmla="*/ 641 w 1325"/>
                  <a:gd name="T89" fmla="*/ 249 h 771"/>
                  <a:gd name="T90" fmla="*/ 724 w 1325"/>
                  <a:gd name="T91" fmla="*/ 205 h 771"/>
                  <a:gd name="T92" fmla="*/ 810 w 1325"/>
                  <a:gd name="T93" fmla="*/ 161 h 771"/>
                  <a:gd name="T94" fmla="*/ 902 w 1325"/>
                  <a:gd name="T95" fmla="*/ 121 h 771"/>
                  <a:gd name="T96" fmla="*/ 996 w 1325"/>
                  <a:gd name="T97" fmla="*/ 84 h 771"/>
                  <a:gd name="T98" fmla="*/ 1096 w 1325"/>
                  <a:gd name="T99" fmla="*/ 52 h 771"/>
                  <a:gd name="T100" fmla="*/ 1198 w 1325"/>
                  <a:gd name="T101" fmla="*/ 23 h 771"/>
                  <a:gd name="T102" fmla="*/ 1304 w 1325"/>
                  <a:gd name="T103"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5" h="771">
                    <a:moveTo>
                      <a:pt x="1304" y="0"/>
                    </a:moveTo>
                    <a:lnTo>
                      <a:pt x="1325" y="0"/>
                    </a:lnTo>
                    <a:lnTo>
                      <a:pt x="1240" y="27"/>
                    </a:lnTo>
                    <a:lnTo>
                      <a:pt x="1158" y="60"/>
                    </a:lnTo>
                    <a:lnTo>
                      <a:pt x="1079" y="98"/>
                    </a:lnTo>
                    <a:lnTo>
                      <a:pt x="1000" y="138"/>
                    </a:lnTo>
                    <a:lnTo>
                      <a:pt x="925" y="182"/>
                    </a:lnTo>
                    <a:lnTo>
                      <a:pt x="852" y="228"/>
                    </a:lnTo>
                    <a:lnTo>
                      <a:pt x="781" y="276"/>
                    </a:lnTo>
                    <a:lnTo>
                      <a:pt x="714" y="326"/>
                    </a:lnTo>
                    <a:lnTo>
                      <a:pt x="651" y="376"/>
                    </a:lnTo>
                    <a:lnTo>
                      <a:pt x="591" y="426"/>
                    </a:lnTo>
                    <a:lnTo>
                      <a:pt x="536" y="476"/>
                    </a:lnTo>
                    <a:lnTo>
                      <a:pt x="484" y="522"/>
                    </a:lnTo>
                    <a:lnTo>
                      <a:pt x="438" y="568"/>
                    </a:lnTo>
                    <a:lnTo>
                      <a:pt x="395" y="610"/>
                    </a:lnTo>
                    <a:lnTo>
                      <a:pt x="357" y="649"/>
                    </a:lnTo>
                    <a:lnTo>
                      <a:pt x="324" y="683"/>
                    </a:lnTo>
                    <a:lnTo>
                      <a:pt x="297" y="714"/>
                    </a:lnTo>
                    <a:lnTo>
                      <a:pt x="276" y="737"/>
                    </a:lnTo>
                    <a:lnTo>
                      <a:pt x="261" y="756"/>
                    </a:lnTo>
                    <a:lnTo>
                      <a:pt x="251" y="768"/>
                    </a:lnTo>
                    <a:lnTo>
                      <a:pt x="247" y="771"/>
                    </a:lnTo>
                    <a:lnTo>
                      <a:pt x="247" y="771"/>
                    </a:lnTo>
                    <a:lnTo>
                      <a:pt x="246" y="771"/>
                    </a:lnTo>
                    <a:lnTo>
                      <a:pt x="240" y="771"/>
                    </a:lnTo>
                    <a:lnTo>
                      <a:pt x="163" y="771"/>
                    </a:lnTo>
                    <a:lnTo>
                      <a:pt x="121" y="771"/>
                    </a:lnTo>
                    <a:lnTo>
                      <a:pt x="67" y="771"/>
                    </a:lnTo>
                    <a:lnTo>
                      <a:pt x="0" y="771"/>
                    </a:lnTo>
                    <a:lnTo>
                      <a:pt x="4" y="768"/>
                    </a:lnTo>
                    <a:lnTo>
                      <a:pt x="13" y="756"/>
                    </a:lnTo>
                    <a:lnTo>
                      <a:pt x="28" y="739"/>
                    </a:lnTo>
                    <a:lnTo>
                      <a:pt x="50" y="716"/>
                    </a:lnTo>
                    <a:lnTo>
                      <a:pt x="76" y="687"/>
                    </a:lnTo>
                    <a:lnTo>
                      <a:pt x="111" y="654"/>
                    </a:lnTo>
                    <a:lnTo>
                      <a:pt x="149" y="618"/>
                    </a:lnTo>
                    <a:lnTo>
                      <a:pt x="194" y="576"/>
                    </a:lnTo>
                    <a:lnTo>
                      <a:pt x="242" y="533"/>
                    </a:lnTo>
                    <a:lnTo>
                      <a:pt x="297" y="487"/>
                    </a:lnTo>
                    <a:lnTo>
                      <a:pt x="357" y="441"/>
                    </a:lnTo>
                    <a:lnTo>
                      <a:pt x="420" y="393"/>
                    </a:lnTo>
                    <a:lnTo>
                      <a:pt x="489" y="345"/>
                    </a:lnTo>
                    <a:lnTo>
                      <a:pt x="562" y="297"/>
                    </a:lnTo>
                    <a:lnTo>
                      <a:pt x="641" y="249"/>
                    </a:lnTo>
                    <a:lnTo>
                      <a:pt x="724" y="205"/>
                    </a:lnTo>
                    <a:lnTo>
                      <a:pt x="810" y="161"/>
                    </a:lnTo>
                    <a:lnTo>
                      <a:pt x="902" y="121"/>
                    </a:lnTo>
                    <a:lnTo>
                      <a:pt x="996" y="84"/>
                    </a:lnTo>
                    <a:lnTo>
                      <a:pt x="1096" y="52"/>
                    </a:lnTo>
                    <a:lnTo>
                      <a:pt x="1198" y="23"/>
                    </a:lnTo>
                    <a:lnTo>
                      <a:pt x="1304"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4" name="Freeform 893"/>
              <p:cNvSpPr>
                <a:spLocks/>
              </p:cNvSpPr>
              <p:nvPr/>
            </p:nvSpPr>
            <p:spPr bwMode="auto">
              <a:xfrm>
                <a:off x="9036051" y="5891213"/>
                <a:ext cx="612775" cy="1087438"/>
              </a:xfrm>
              <a:custGeom>
                <a:avLst/>
                <a:gdLst>
                  <a:gd name="T0" fmla="*/ 340 w 386"/>
                  <a:gd name="T1" fmla="*/ 0 h 685"/>
                  <a:gd name="T2" fmla="*/ 363 w 386"/>
                  <a:gd name="T3" fmla="*/ 8 h 685"/>
                  <a:gd name="T4" fmla="*/ 386 w 386"/>
                  <a:gd name="T5" fmla="*/ 14 h 685"/>
                  <a:gd name="T6" fmla="*/ 383 w 386"/>
                  <a:gd name="T7" fmla="*/ 16 h 685"/>
                  <a:gd name="T8" fmla="*/ 371 w 386"/>
                  <a:gd name="T9" fmla="*/ 25 h 685"/>
                  <a:gd name="T10" fmla="*/ 354 w 386"/>
                  <a:gd name="T11" fmla="*/ 43 h 685"/>
                  <a:gd name="T12" fmla="*/ 333 w 386"/>
                  <a:gd name="T13" fmla="*/ 64 h 685"/>
                  <a:gd name="T14" fmla="*/ 306 w 386"/>
                  <a:gd name="T15" fmla="*/ 91 h 685"/>
                  <a:gd name="T16" fmla="*/ 279 w 386"/>
                  <a:gd name="T17" fmla="*/ 125 h 685"/>
                  <a:gd name="T18" fmla="*/ 248 w 386"/>
                  <a:gd name="T19" fmla="*/ 162 h 685"/>
                  <a:gd name="T20" fmla="*/ 219 w 386"/>
                  <a:gd name="T21" fmla="*/ 206 h 685"/>
                  <a:gd name="T22" fmla="*/ 190 w 386"/>
                  <a:gd name="T23" fmla="*/ 252 h 685"/>
                  <a:gd name="T24" fmla="*/ 164 w 386"/>
                  <a:gd name="T25" fmla="*/ 304 h 685"/>
                  <a:gd name="T26" fmla="*/ 139 w 386"/>
                  <a:gd name="T27" fmla="*/ 359 h 685"/>
                  <a:gd name="T28" fmla="*/ 119 w 386"/>
                  <a:gd name="T29" fmla="*/ 419 h 685"/>
                  <a:gd name="T30" fmla="*/ 106 w 386"/>
                  <a:gd name="T31" fmla="*/ 480 h 685"/>
                  <a:gd name="T32" fmla="*/ 98 w 386"/>
                  <a:gd name="T33" fmla="*/ 545 h 685"/>
                  <a:gd name="T34" fmla="*/ 98 w 386"/>
                  <a:gd name="T35" fmla="*/ 614 h 685"/>
                  <a:gd name="T36" fmla="*/ 108 w 386"/>
                  <a:gd name="T37" fmla="*/ 685 h 685"/>
                  <a:gd name="T38" fmla="*/ 108 w 386"/>
                  <a:gd name="T39" fmla="*/ 685 h 685"/>
                  <a:gd name="T40" fmla="*/ 106 w 386"/>
                  <a:gd name="T41" fmla="*/ 685 h 685"/>
                  <a:gd name="T42" fmla="*/ 100 w 386"/>
                  <a:gd name="T43" fmla="*/ 685 h 685"/>
                  <a:gd name="T44" fmla="*/ 6 w 386"/>
                  <a:gd name="T45" fmla="*/ 685 h 685"/>
                  <a:gd name="T46" fmla="*/ 0 w 386"/>
                  <a:gd name="T47" fmla="*/ 616 h 685"/>
                  <a:gd name="T48" fmla="*/ 2 w 386"/>
                  <a:gd name="T49" fmla="*/ 549 h 685"/>
                  <a:gd name="T50" fmla="*/ 14 w 386"/>
                  <a:gd name="T51" fmla="*/ 484 h 685"/>
                  <a:gd name="T52" fmla="*/ 31 w 386"/>
                  <a:gd name="T53" fmla="*/ 423 h 685"/>
                  <a:gd name="T54" fmla="*/ 54 w 386"/>
                  <a:gd name="T55" fmla="*/ 365 h 685"/>
                  <a:gd name="T56" fmla="*/ 81 w 386"/>
                  <a:gd name="T57" fmla="*/ 309 h 685"/>
                  <a:gd name="T58" fmla="*/ 112 w 386"/>
                  <a:gd name="T59" fmla="*/ 258 h 685"/>
                  <a:gd name="T60" fmla="*/ 144 w 386"/>
                  <a:gd name="T61" fmla="*/ 210 h 685"/>
                  <a:gd name="T62" fmla="*/ 177 w 386"/>
                  <a:gd name="T63" fmla="*/ 165 h 685"/>
                  <a:gd name="T64" fmla="*/ 210 w 386"/>
                  <a:gd name="T65" fmla="*/ 125 h 685"/>
                  <a:gd name="T66" fmla="*/ 242 w 386"/>
                  <a:gd name="T67" fmla="*/ 91 h 685"/>
                  <a:gd name="T68" fmla="*/ 271 w 386"/>
                  <a:gd name="T69" fmla="*/ 62 h 685"/>
                  <a:gd name="T70" fmla="*/ 296 w 386"/>
                  <a:gd name="T71" fmla="*/ 39 h 685"/>
                  <a:gd name="T72" fmla="*/ 317 w 386"/>
                  <a:gd name="T73" fmla="*/ 20 h 685"/>
                  <a:gd name="T74" fmla="*/ 333 w 386"/>
                  <a:gd name="T75" fmla="*/ 8 h 685"/>
                  <a:gd name="T76" fmla="*/ 340 w 386"/>
                  <a:gd name="T77"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6" h="685">
                    <a:moveTo>
                      <a:pt x="340" y="0"/>
                    </a:moveTo>
                    <a:lnTo>
                      <a:pt x="363" y="8"/>
                    </a:lnTo>
                    <a:lnTo>
                      <a:pt x="386" y="14"/>
                    </a:lnTo>
                    <a:lnTo>
                      <a:pt x="383" y="16"/>
                    </a:lnTo>
                    <a:lnTo>
                      <a:pt x="371" y="25"/>
                    </a:lnTo>
                    <a:lnTo>
                      <a:pt x="354" y="43"/>
                    </a:lnTo>
                    <a:lnTo>
                      <a:pt x="333" y="64"/>
                    </a:lnTo>
                    <a:lnTo>
                      <a:pt x="306" y="91"/>
                    </a:lnTo>
                    <a:lnTo>
                      <a:pt x="279" y="125"/>
                    </a:lnTo>
                    <a:lnTo>
                      <a:pt x="248" y="162"/>
                    </a:lnTo>
                    <a:lnTo>
                      <a:pt x="219" y="206"/>
                    </a:lnTo>
                    <a:lnTo>
                      <a:pt x="190" y="252"/>
                    </a:lnTo>
                    <a:lnTo>
                      <a:pt x="164" y="304"/>
                    </a:lnTo>
                    <a:lnTo>
                      <a:pt x="139" y="359"/>
                    </a:lnTo>
                    <a:lnTo>
                      <a:pt x="119" y="419"/>
                    </a:lnTo>
                    <a:lnTo>
                      <a:pt x="106" y="480"/>
                    </a:lnTo>
                    <a:lnTo>
                      <a:pt x="98" y="545"/>
                    </a:lnTo>
                    <a:lnTo>
                      <a:pt x="98" y="614"/>
                    </a:lnTo>
                    <a:lnTo>
                      <a:pt x="108" y="685"/>
                    </a:lnTo>
                    <a:lnTo>
                      <a:pt x="108" y="685"/>
                    </a:lnTo>
                    <a:lnTo>
                      <a:pt x="106" y="685"/>
                    </a:lnTo>
                    <a:lnTo>
                      <a:pt x="100" y="685"/>
                    </a:lnTo>
                    <a:lnTo>
                      <a:pt x="6" y="685"/>
                    </a:lnTo>
                    <a:lnTo>
                      <a:pt x="0" y="616"/>
                    </a:lnTo>
                    <a:lnTo>
                      <a:pt x="2" y="549"/>
                    </a:lnTo>
                    <a:lnTo>
                      <a:pt x="14" y="484"/>
                    </a:lnTo>
                    <a:lnTo>
                      <a:pt x="31" y="423"/>
                    </a:lnTo>
                    <a:lnTo>
                      <a:pt x="54" y="365"/>
                    </a:lnTo>
                    <a:lnTo>
                      <a:pt x="81" y="309"/>
                    </a:lnTo>
                    <a:lnTo>
                      <a:pt x="112" y="258"/>
                    </a:lnTo>
                    <a:lnTo>
                      <a:pt x="144" y="210"/>
                    </a:lnTo>
                    <a:lnTo>
                      <a:pt x="177" y="165"/>
                    </a:lnTo>
                    <a:lnTo>
                      <a:pt x="210" y="125"/>
                    </a:lnTo>
                    <a:lnTo>
                      <a:pt x="242" y="91"/>
                    </a:lnTo>
                    <a:lnTo>
                      <a:pt x="271" y="62"/>
                    </a:lnTo>
                    <a:lnTo>
                      <a:pt x="296" y="39"/>
                    </a:lnTo>
                    <a:lnTo>
                      <a:pt x="317" y="20"/>
                    </a:lnTo>
                    <a:lnTo>
                      <a:pt x="333" y="8"/>
                    </a:lnTo>
                    <a:lnTo>
                      <a:pt x="340" y="0"/>
                    </a:lnTo>
                    <a:close/>
                  </a:path>
                </a:pathLst>
              </a:custGeom>
              <a:solidFill>
                <a:srgbClr val="E4ECE9"/>
              </a:solidFill>
              <a:ln w="0">
                <a:solidFill>
                  <a:srgbClr val="E4ECE9"/>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5" name="Freeform 894"/>
              <p:cNvSpPr>
                <a:spLocks/>
              </p:cNvSpPr>
              <p:nvPr/>
            </p:nvSpPr>
            <p:spPr bwMode="auto">
              <a:xfrm>
                <a:off x="7035801" y="5754688"/>
                <a:ext cx="2540000" cy="1223963"/>
              </a:xfrm>
              <a:custGeom>
                <a:avLst/>
                <a:gdLst>
                  <a:gd name="T0" fmla="*/ 1078 w 1600"/>
                  <a:gd name="T1" fmla="*/ 0 h 771"/>
                  <a:gd name="T2" fmla="*/ 1255 w 1600"/>
                  <a:gd name="T3" fmla="*/ 17 h 771"/>
                  <a:gd name="T4" fmla="*/ 1427 w 1600"/>
                  <a:gd name="T5" fmla="*/ 46 h 771"/>
                  <a:gd name="T6" fmla="*/ 1600 w 1600"/>
                  <a:gd name="T7" fmla="*/ 86 h 771"/>
                  <a:gd name="T8" fmla="*/ 1593 w 1600"/>
                  <a:gd name="T9" fmla="*/ 92 h 771"/>
                  <a:gd name="T10" fmla="*/ 1577 w 1600"/>
                  <a:gd name="T11" fmla="*/ 106 h 771"/>
                  <a:gd name="T12" fmla="*/ 1556 w 1600"/>
                  <a:gd name="T13" fmla="*/ 123 h 771"/>
                  <a:gd name="T14" fmla="*/ 1531 w 1600"/>
                  <a:gd name="T15" fmla="*/ 148 h 771"/>
                  <a:gd name="T16" fmla="*/ 1502 w 1600"/>
                  <a:gd name="T17" fmla="*/ 177 h 771"/>
                  <a:gd name="T18" fmla="*/ 1470 w 1600"/>
                  <a:gd name="T19" fmla="*/ 211 h 771"/>
                  <a:gd name="T20" fmla="*/ 1437 w 1600"/>
                  <a:gd name="T21" fmla="*/ 251 h 771"/>
                  <a:gd name="T22" fmla="*/ 1404 w 1600"/>
                  <a:gd name="T23" fmla="*/ 296 h 771"/>
                  <a:gd name="T24" fmla="*/ 1372 w 1600"/>
                  <a:gd name="T25" fmla="*/ 344 h 771"/>
                  <a:gd name="T26" fmla="*/ 1341 w 1600"/>
                  <a:gd name="T27" fmla="*/ 395 h 771"/>
                  <a:gd name="T28" fmla="*/ 1314 w 1600"/>
                  <a:gd name="T29" fmla="*/ 451 h 771"/>
                  <a:gd name="T30" fmla="*/ 1291 w 1600"/>
                  <a:gd name="T31" fmla="*/ 509 h 771"/>
                  <a:gd name="T32" fmla="*/ 1274 w 1600"/>
                  <a:gd name="T33" fmla="*/ 570 h 771"/>
                  <a:gd name="T34" fmla="*/ 1262 w 1600"/>
                  <a:gd name="T35" fmla="*/ 635 h 771"/>
                  <a:gd name="T36" fmla="*/ 1260 w 1600"/>
                  <a:gd name="T37" fmla="*/ 702 h 771"/>
                  <a:gd name="T38" fmla="*/ 1266 w 1600"/>
                  <a:gd name="T39" fmla="*/ 771 h 771"/>
                  <a:gd name="T40" fmla="*/ 1086 w 1600"/>
                  <a:gd name="T41" fmla="*/ 771 h 771"/>
                  <a:gd name="T42" fmla="*/ 1038 w 1600"/>
                  <a:gd name="T43" fmla="*/ 771 h 771"/>
                  <a:gd name="T44" fmla="*/ 915 w 1600"/>
                  <a:gd name="T45" fmla="*/ 771 h 771"/>
                  <a:gd name="T46" fmla="*/ 840 w 1600"/>
                  <a:gd name="T47" fmla="*/ 771 h 771"/>
                  <a:gd name="T48" fmla="*/ 552 w 1600"/>
                  <a:gd name="T49" fmla="*/ 771 h 771"/>
                  <a:gd name="T50" fmla="*/ 434 w 1600"/>
                  <a:gd name="T51" fmla="*/ 771 h 771"/>
                  <a:gd name="T52" fmla="*/ 302 w 1600"/>
                  <a:gd name="T53" fmla="*/ 771 h 771"/>
                  <a:gd name="T54" fmla="*/ 158 w 1600"/>
                  <a:gd name="T55" fmla="*/ 771 h 771"/>
                  <a:gd name="T56" fmla="*/ 0 w 1600"/>
                  <a:gd name="T57" fmla="*/ 771 h 771"/>
                  <a:gd name="T58" fmla="*/ 2 w 1600"/>
                  <a:gd name="T59" fmla="*/ 768 h 771"/>
                  <a:gd name="T60" fmla="*/ 12 w 1600"/>
                  <a:gd name="T61" fmla="*/ 756 h 771"/>
                  <a:gd name="T62" fmla="*/ 29 w 1600"/>
                  <a:gd name="T63" fmla="*/ 737 h 771"/>
                  <a:gd name="T64" fmla="*/ 50 w 1600"/>
                  <a:gd name="T65" fmla="*/ 714 h 771"/>
                  <a:gd name="T66" fmla="*/ 77 w 1600"/>
                  <a:gd name="T67" fmla="*/ 683 h 771"/>
                  <a:gd name="T68" fmla="*/ 110 w 1600"/>
                  <a:gd name="T69" fmla="*/ 649 h 771"/>
                  <a:gd name="T70" fmla="*/ 148 w 1600"/>
                  <a:gd name="T71" fmla="*/ 610 h 771"/>
                  <a:gd name="T72" fmla="*/ 191 w 1600"/>
                  <a:gd name="T73" fmla="*/ 568 h 771"/>
                  <a:gd name="T74" fmla="*/ 237 w 1600"/>
                  <a:gd name="T75" fmla="*/ 522 h 771"/>
                  <a:gd name="T76" fmla="*/ 289 w 1600"/>
                  <a:gd name="T77" fmla="*/ 476 h 771"/>
                  <a:gd name="T78" fmla="*/ 344 w 1600"/>
                  <a:gd name="T79" fmla="*/ 426 h 771"/>
                  <a:gd name="T80" fmla="*/ 404 w 1600"/>
                  <a:gd name="T81" fmla="*/ 376 h 771"/>
                  <a:gd name="T82" fmla="*/ 467 w 1600"/>
                  <a:gd name="T83" fmla="*/ 326 h 771"/>
                  <a:gd name="T84" fmla="*/ 534 w 1600"/>
                  <a:gd name="T85" fmla="*/ 276 h 771"/>
                  <a:gd name="T86" fmla="*/ 605 w 1600"/>
                  <a:gd name="T87" fmla="*/ 228 h 771"/>
                  <a:gd name="T88" fmla="*/ 678 w 1600"/>
                  <a:gd name="T89" fmla="*/ 182 h 771"/>
                  <a:gd name="T90" fmla="*/ 753 w 1600"/>
                  <a:gd name="T91" fmla="*/ 138 h 771"/>
                  <a:gd name="T92" fmla="*/ 832 w 1600"/>
                  <a:gd name="T93" fmla="*/ 98 h 771"/>
                  <a:gd name="T94" fmla="*/ 911 w 1600"/>
                  <a:gd name="T95" fmla="*/ 60 h 771"/>
                  <a:gd name="T96" fmla="*/ 993 w 1600"/>
                  <a:gd name="T97" fmla="*/ 27 h 771"/>
                  <a:gd name="T98" fmla="*/ 1078 w 1600"/>
                  <a:gd name="T99"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0" h="771">
                    <a:moveTo>
                      <a:pt x="1078" y="0"/>
                    </a:moveTo>
                    <a:lnTo>
                      <a:pt x="1255" y="17"/>
                    </a:lnTo>
                    <a:lnTo>
                      <a:pt x="1427" y="46"/>
                    </a:lnTo>
                    <a:lnTo>
                      <a:pt x="1600" y="86"/>
                    </a:lnTo>
                    <a:lnTo>
                      <a:pt x="1593" y="92"/>
                    </a:lnTo>
                    <a:lnTo>
                      <a:pt x="1577" y="106"/>
                    </a:lnTo>
                    <a:lnTo>
                      <a:pt x="1556" y="123"/>
                    </a:lnTo>
                    <a:lnTo>
                      <a:pt x="1531" y="148"/>
                    </a:lnTo>
                    <a:lnTo>
                      <a:pt x="1502" y="177"/>
                    </a:lnTo>
                    <a:lnTo>
                      <a:pt x="1470" y="211"/>
                    </a:lnTo>
                    <a:lnTo>
                      <a:pt x="1437" y="251"/>
                    </a:lnTo>
                    <a:lnTo>
                      <a:pt x="1404" y="296"/>
                    </a:lnTo>
                    <a:lnTo>
                      <a:pt x="1372" y="344"/>
                    </a:lnTo>
                    <a:lnTo>
                      <a:pt x="1341" y="395"/>
                    </a:lnTo>
                    <a:lnTo>
                      <a:pt x="1314" y="451"/>
                    </a:lnTo>
                    <a:lnTo>
                      <a:pt x="1291" y="509"/>
                    </a:lnTo>
                    <a:lnTo>
                      <a:pt x="1274" y="570"/>
                    </a:lnTo>
                    <a:lnTo>
                      <a:pt x="1262" y="635"/>
                    </a:lnTo>
                    <a:lnTo>
                      <a:pt x="1260" y="702"/>
                    </a:lnTo>
                    <a:lnTo>
                      <a:pt x="1266" y="771"/>
                    </a:lnTo>
                    <a:lnTo>
                      <a:pt x="1086" y="771"/>
                    </a:lnTo>
                    <a:lnTo>
                      <a:pt x="1038" y="771"/>
                    </a:lnTo>
                    <a:lnTo>
                      <a:pt x="915" y="771"/>
                    </a:lnTo>
                    <a:lnTo>
                      <a:pt x="840" y="771"/>
                    </a:lnTo>
                    <a:lnTo>
                      <a:pt x="552" y="771"/>
                    </a:lnTo>
                    <a:lnTo>
                      <a:pt x="434" y="771"/>
                    </a:lnTo>
                    <a:lnTo>
                      <a:pt x="302" y="771"/>
                    </a:lnTo>
                    <a:lnTo>
                      <a:pt x="158" y="771"/>
                    </a:lnTo>
                    <a:lnTo>
                      <a:pt x="0" y="771"/>
                    </a:lnTo>
                    <a:lnTo>
                      <a:pt x="2" y="768"/>
                    </a:lnTo>
                    <a:lnTo>
                      <a:pt x="12" y="756"/>
                    </a:lnTo>
                    <a:lnTo>
                      <a:pt x="29" y="737"/>
                    </a:lnTo>
                    <a:lnTo>
                      <a:pt x="50" y="714"/>
                    </a:lnTo>
                    <a:lnTo>
                      <a:pt x="77" y="683"/>
                    </a:lnTo>
                    <a:lnTo>
                      <a:pt x="110" y="649"/>
                    </a:lnTo>
                    <a:lnTo>
                      <a:pt x="148" y="610"/>
                    </a:lnTo>
                    <a:lnTo>
                      <a:pt x="191" y="568"/>
                    </a:lnTo>
                    <a:lnTo>
                      <a:pt x="237" y="522"/>
                    </a:lnTo>
                    <a:lnTo>
                      <a:pt x="289" y="476"/>
                    </a:lnTo>
                    <a:lnTo>
                      <a:pt x="344" y="426"/>
                    </a:lnTo>
                    <a:lnTo>
                      <a:pt x="404" y="376"/>
                    </a:lnTo>
                    <a:lnTo>
                      <a:pt x="467" y="326"/>
                    </a:lnTo>
                    <a:lnTo>
                      <a:pt x="534" y="276"/>
                    </a:lnTo>
                    <a:lnTo>
                      <a:pt x="605" y="228"/>
                    </a:lnTo>
                    <a:lnTo>
                      <a:pt x="678" y="182"/>
                    </a:lnTo>
                    <a:lnTo>
                      <a:pt x="753" y="138"/>
                    </a:lnTo>
                    <a:lnTo>
                      <a:pt x="832" y="98"/>
                    </a:lnTo>
                    <a:lnTo>
                      <a:pt x="911" y="60"/>
                    </a:lnTo>
                    <a:lnTo>
                      <a:pt x="993" y="27"/>
                    </a:lnTo>
                    <a:lnTo>
                      <a:pt x="1078" y="0"/>
                    </a:lnTo>
                    <a:close/>
                  </a:path>
                </a:pathLst>
              </a:custGeom>
              <a:solidFill>
                <a:srgbClr val="778D8D"/>
              </a:solidFill>
              <a:ln w="0">
                <a:solidFill>
                  <a:srgbClr val="778D8D"/>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6" name="Freeform 895"/>
              <p:cNvSpPr>
                <a:spLocks/>
              </p:cNvSpPr>
              <p:nvPr/>
            </p:nvSpPr>
            <p:spPr bwMode="auto">
              <a:xfrm>
                <a:off x="9332913" y="5362575"/>
                <a:ext cx="312738" cy="538163"/>
              </a:xfrm>
              <a:custGeom>
                <a:avLst/>
                <a:gdLst>
                  <a:gd name="T0" fmla="*/ 13 w 197"/>
                  <a:gd name="T1" fmla="*/ 0 h 339"/>
                  <a:gd name="T2" fmla="*/ 184 w 197"/>
                  <a:gd name="T3" fmla="*/ 0 h 339"/>
                  <a:gd name="T4" fmla="*/ 188 w 197"/>
                  <a:gd name="T5" fmla="*/ 0 h 339"/>
                  <a:gd name="T6" fmla="*/ 192 w 197"/>
                  <a:gd name="T7" fmla="*/ 1 h 339"/>
                  <a:gd name="T8" fmla="*/ 196 w 197"/>
                  <a:gd name="T9" fmla="*/ 3 h 339"/>
                  <a:gd name="T10" fmla="*/ 197 w 197"/>
                  <a:gd name="T11" fmla="*/ 7 h 339"/>
                  <a:gd name="T12" fmla="*/ 197 w 197"/>
                  <a:gd name="T13" fmla="*/ 13 h 339"/>
                  <a:gd name="T14" fmla="*/ 197 w 197"/>
                  <a:gd name="T15" fmla="*/ 86 h 339"/>
                  <a:gd name="T16" fmla="*/ 197 w 197"/>
                  <a:gd name="T17" fmla="*/ 145 h 339"/>
                  <a:gd name="T18" fmla="*/ 197 w 197"/>
                  <a:gd name="T19" fmla="*/ 195 h 339"/>
                  <a:gd name="T20" fmla="*/ 197 w 197"/>
                  <a:gd name="T21" fmla="*/ 236 h 339"/>
                  <a:gd name="T22" fmla="*/ 197 w 197"/>
                  <a:gd name="T23" fmla="*/ 266 h 339"/>
                  <a:gd name="T24" fmla="*/ 197 w 197"/>
                  <a:gd name="T25" fmla="*/ 289 h 339"/>
                  <a:gd name="T26" fmla="*/ 197 w 197"/>
                  <a:gd name="T27" fmla="*/ 324 h 339"/>
                  <a:gd name="T28" fmla="*/ 197 w 197"/>
                  <a:gd name="T29" fmla="*/ 328 h 339"/>
                  <a:gd name="T30" fmla="*/ 197 w 197"/>
                  <a:gd name="T31" fmla="*/ 328 h 339"/>
                  <a:gd name="T32" fmla="*/ 197 w 197"/>
                  <a:gd name="T33" fmla="*/ 330 h 339"/>
                  <a:gd name="T34" fmla="*/ 197 w 197"/>
                  <a:gd name="T35" fmla="*/ 333 h 339"/>
                  <a:gd name="T36" fmla="*/ 194 w 197"/>
                  <a:gd name="T37" fmla="*/ 337 h 339"/>
                  <a:gd name="T38" fmla="*/ 190 w 197"/>
                  <a:gd name="T39" fmla="*/ 339 h 339"/>
                  <a:gd name="T40" fmla="*/ 184 w 197"/>
                  <a:gd name="T41" fmla="*/ 339 h 339"/>
                  <a:gd name="T42" fmla="*/ 134 w 197"/>
                  <a:gd name="T43" fmla="*/ 339 h 339"/>
                  <a:gd name="T44" fmla="*/ 94 w 197"/>
                  <a:gd name="T45" fmla="*/ 339 h 339"/>
                  <a:gd name="T46" fmla="*/ 63 w 197"/>
                  <a:gd name="T47" fmla="*/ 339 h 339"/>
                  <a:gd name="T48" fmla="*/ 42 w 197"/>
                  <a:gd name="T49" fmla="*/ 339 h 339"/>
                  <a:gd name="T50" fmla="*/ 19 w 197"/>
                  <a:gd name="T51" fmla="*/ 339 h 339"/>
                  <a:gd name="T52" fmla="*/ 15 w 197"/>
                  <a:gd name="T53" fmla="*/ 339 h 339"/>
                  <a:gd name="T54" fmla="*/ 13 w 197"/>
                  <a:gd name="T55" fmla="*/ 339 h 339"/>
                  <a:gd name="T56" fmla="*/ 13 w 197"/>
                  <a:gd name="T57" fmla="*/ 339 h 339"/>
                  <a:gd name="T58" fmla="*/ 7 w 197"/>
                  <a:gd name="T59" fmla="*/ 339 h 339"/>
                  <a:gd name="T60" fmla="*/ 2 w 197"/>
                  <a:gd name="T61" fmla="*/ 337 h 339"/>
                  <a:gd name="T62" fmla="*/ 0 w 197"/>
                  <a:gd name="T63" fmla="*/ 333 h 339"/>
                  <a:gd name="T64" fmla="*/ 0 w 197"/>
                  <a:gd name="T65" fmla="*/ 330 h 339"/>
                  <a:gd name="T66" fmla="*/ 0 w 197"/>
                  <a:gd name="T67" fmla="*/ 107 h 339"/>
                  <a:gd name="T68" fmla="*/ 0 w 197"/>
                  <a:gd name="T69" fmla="*/ 76 h 339"/>
                  <a:gd name="T70" fmla="*/ 0 w 197"/>
                  <a:gd name="T71" fmla="*/ 51 h 339"/>
                  <a:gd name="T72" fmla="*/ 0 w 197"/>
                  <a:gd name="T73" fmla="*/ 17 h 339"/>
                  <a:gd name="T74" fmla="*/ 0 w 197"/>
                  <a:gd name="T75" fmla="*/ 15 h 339"/>
                  <a:gd name="T76" fmla="*/ 0 w 197"/>
                  <a:gd name="T77" fmla="*/ 13 h 339"/>
                  <a:gd name="T78" fmla="*/ 0 w 197"/>
                  <a:gd name="T79" fmla="*/ 13 h 339"/>
                  <a:gd name="T80" fmla="*/ 0 w 197"/>
                  <a:gd name="T81" fmla="*/ 7 h 339"/>
                  <a:gd name="T82" fmla="*/ 2 w 197"/>
                  <a:gd name="T83" fmla="*/ 3 h 339"/>
                  <a:gd name="T84" fmla="*/ 7 w 197"/>
                  <a:gd name="T85" fmla="*/ 0 h 339"/>
                  <a:gd name="T86" fmla="*/ 13 w 197"/>
                  <a:gd name="T87"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 h="339">
                    <a:moveTo>
                      <a:pt x="13" y="0"/>
                    </a:moveTo>
                    <a:lnTo>
                      <a:pt x="184" y="0"/>
                    </a:lnTo>
                    <a:lnTo>
                      <a:pt x="188" y="0"/>
                    </a:lnTo>
                    <a:lnTo>
                      <a:pt x="192" y="1"/>
                    </a:lnTo>
                    <a:lnTo>
                      <a:pt x="196" y="3"/>
                    </a:lnTo>
                    <a:lnTo>
                      <a:pt x="197" y="7"/>
                    </a:lnTo>
                    <a:lnTo>
                      <a:pt x="197" y="13"/>
                    </a:lnTo>
                    <a:lnTo>
                      <a:pt x="197" y="86"/>
                    </a:lnTo>
                    <a:lnTo>
                      <a:pt x="197" y="145"/>
                    </a:lnTo>
                    <a:lnTo>
                      <a:pt x="197" y="195"/>
                    </a:lnTo>
                    <a:lnTo>
                      <a:pt x="197" y="236"/>
                    </a:lnTo>
                    <a:lnTo>
                      <a:pt x="197" y="266"/>
                    </a:lnTo>
                    <a:lnTo>
                      <a:pt x="197" y="289"/>
                    </a:lnTo>
                    <a:lnTo>
                      <a:pt x="197" y="324"/>
                    </a:lnTo>
                    <a:lnTo>
                      <a:pt x="197" y="328"/>
                    </a:lnTo>
                    <a:lnTo>
                      <a:pt x="197" y="328"/>
                    </a:lnTo>
                    <a:lnTo>
                      <a:pt x="197" y="330"/>
                    </a:lnTo>
                    <a:lnTo>
                      <a:pt x="197" y="333"/>
                    </a:lnTo>
                    <a:lnTo>
                      <a:pt x="194" y="337"/>
                    </a:lnTo>
                    <a:lnTo>
                      <a:pt x="190" y="339"/>
                    </a:lnTo>
                    <a:lnTo>
                      <a:pt x="184" y="339"/>
                    </a:lnTo>
                    <a:lnTo>
                      <a:pt x="134" y="339"/>
                    </a:lnTo>
                    <a:lnTo>
                      <a:pt x="94" y="339"/>
                    </a:lnTo>
                    <a:lnTo>
                      <a:pt x="63" y="339"/>
                    </a:lnTo>
                    <a:lnTo>
                      <a:pt x="42" y="339"/>
                    </a:lnTo>
                    <a:lnTo>
                      <a:pt x="19" y="339"/>
                    </a:lnTo>
                    <a:lnTo>
                      <a:pt x="15" y="339"/>
                    </a:lnTo>
                    <a:lnTo>
                      <a:pt x="13" y="339"/>
                    </a:lnTo>
                    <a:lnTo>
                      <a:pt x="13" y="339"/>
                    </a:lnTo>
                    <a:lnTo>
                      <a:pt x="7" y="339"/>
                    </a:lnTo>
                    <a:lnTo>
                      <a:pt x="2" y="337"/>
                    </a:lnTo>
                    <a:lnTo>
                      <a:pt x="0" y="333"/>
                    </a:lnTo>
                    <a:lnTo>
                      <a:pt x="0" y="330"/>
                    </a:lnTo>
                    <a:lnTo>
                      <a:pt x="0" y="107"/>
                    </a:lnTo>
                    <a:lnTo>
                      <a:pt x="0" y="76"/>
                    </a:lnTo>
                    <a:lnTo>
                      <a:pt x="0" y="51"/>
                    </a:lnTo>
                    <a:lnTo>
                      <a:pt x="0" y="17"/>
                    </a:lnTo>
                    <a:lnTo>
                      <a:pt x="0" y="15"/>
                    </a:lnTo>
                    <a:lnTo>
                      <a:pt x="0" y="13"/>
                    </a:lnTo>
                    <a:lnTo>
                      <a:pt x="0" y="13"/>
                    </a:lnTo>
                    <a:lnTo>
                      <a:pt x="0" y="7"/>
                    </a:lnTo>
                    <a:lnTo>
                      <a:pt x="2" y="3"/>
                    </a:lnTo>
                    <a:lnTo>
                      <a:pt x="7" y="0"/>
                    </a:lnTo>
                    <a:lnTo>
                      <a:pt x="13"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77" name="Rectangle 896"/>
              <p:cNvSpPr>
                <a:spLocks noChangeArrowheads="1"/>
              </p:cNvSpPr>
              <p:nvPr/>
            </p:nvSpPr>
            <p:spPr bwMode="auto">
              <a:xfrm>
                <a:off x="9356726" y="5395913"/>
                <a:ext cx="255588" cy="422275"/>
              </a:xfrm>
              <a:prstGeom prst="rect">
                <a:avLst/>
              </a:prstGeom>
              <a:solidFill>
                <a:srgbClr val="4FFEFF"/>
              </a:solidFill>
              <a:ln w="0">
                <a:solidFill>
                  <a:srgbClr val="4FFE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78" name="Rectangle 897"/>
              <p:cNvSpPr>
                <a:spLocks noChangeArrowheads="1"/>
              </p:cNvSpPr>
              <p:nvPr/>
            </p:nvSpPr>
            <p:spPr bwMode="auto">
              <a:xfrm>
                <a:off x="8896351" y="5237163"/>
                <a:ext cx="503238" cy="766763"/>
              </a:xfrm>
              <a:prstGeom prst="rect">
                <a:avLst/>
              </a:prstGeom>
              <a:solidFill>
                <a:srgbClr val="8838F7"/>
              </a:solidFill>
              <a:ln w="0">
                <a:solidFill>
                  <a:srgbClr val="8838F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79" name="Freeform 898"/>
              <p:cNvSpPr>
                <a:spLocks/>
              </p:cNvSpPr>
              <p:nvPr/>
            </p:nvSpPr>
            <p:spPr bwMode="auto">
              <a:xfrm>
                <a:off x="8951913" y="5322888"/>
                <a:ext cx="395288" cy="66675"/>
              </a:xfrm>
              <a:custGeom>
                <a:avLst/>
                <a:gdLst>
                  <a:gd name="T0" fmla="*/ 21 w 249"/>
                  <a:gd name="T1" fmla="*/ 0 h 42"/>
                  <a:gd name="T2" fmla="*/ 228 w 249"/>
                  <a:gd name="T3" fmla="*/ 0 h 42"/>
                  <a:gd name="T4" fmla="*/ 236 w 249"/>
                  <a:gd name="T5" fmla="*/ 0 h 42"/>
                  <a:gd name="T6" fmla="*/ 240 w 249"/>
                  <a:gd name="T7" fmla="*/ 1 h 42"/>
                  <a:gd name="T8" fmla="*/ 243 w 249"/>
                  <a:gd name="T9" fmla="*/ 5 h 42"/>
                  <a:gd name="T10" fmla="*/ 247 w 249"/>
                  <a:gd name="T11" fmla="*/ 7 h 42"/>
                  <a:gd name="T12" fmla="*/ 247 w 249"/>
                  <a:gd name="T13" fmla="*/ 11 h 42"/>
                  <a:gd name="T14" fmla="*/ 249 w 249"/>
                  <a:gd name="T15" fmla="*/ 15 h 42"/>
                  <a:gd name="T16" fmla="*/ 249 w 249"/>
                  <a:gd name="T17" fmla="*/ 17 h 42"/>
                  <a:gd name="T18" fmla="*/ 249 w 249"/>
                  <a:gd name="T19" fmla="*/ 17 h 42"/>
                  <a:gd name="T20" fmla="*/ 249 w 249"/>
                  <a:gd name="T21" fmla="*/ 21 h 42"/>
                  <a:gd name="T22" fmla="*/ 249 w 249"/>
                  <a:gd name="T23" fmla="*/ 28 h 42"/>
                  <a:gd name="T24" fmla="*/ 247 w 249"/>
                  <a:gd name="T25" fmla="*/ 32 h 42"/>
                  <a:gd name="T26" fmla="*/ 243 w 249"/>
                  <a:gd name="T27" fmla="*/ 36 h 42"/>
                  <a:gd name="T28" fmla="*/ 240 w 249"/>
                  <a:gd name="T29" fmla="*/ 38 h 42"/>
                  <a:gd name="T30" fmla="*/ 238 w 249"/>
                  <a:gd name="T31" fmla="*/ 40 h 42"/>
                  <a:gd name="T32" fmla="*/ 234 w 249"/>
                  <a:gd name="T33" fmla="*/ 42 h 42"/>
                  <a:gd name="T34" fmla="*/ 230 w 249"/>
                  <a:gd name="T35" fmla="*/ 42 h 42"/>
                  <a:gd name="T36" fmla="*/ 228 w 249"/>
                  <a:gd name="T37" fmla="*/ 42 h 42"/>
                  <a:gd name="T38" fmla="*/ 228 w 249"/>
                  <a:gd name="T39" fmla="*/ 42 h 42"/>
                  <a:gd name="T40" fmla="*/ 21 w 249"/>
                  <a:gd name="T41" fmla="*/ 42 h 42"/>
                  <a:gd name="T42" fmla="*/ 13 w 249"/>
                  <a:gd name="T43" fmla="*/ 42 h 42"/>
                  <a:gd name="T44" fmla="*/ 9 w 249"/>
                  <a:gd name="T45" fmla="*/ 40 h 42"/>
                  <a:gd name="T46" fmla="*/ 5 w 249"/>
                  <a:gd name="T47" fmla="*/ 36 h 42"/>
                  <a:gd name="T48" fmla="*/ 3 w 249"/>
                  <a:gd name="T49" fmla="*/ 34 h 42"/>
                  <a:gd name="T50" fmla="*/ 1 w 249"/>
                  <a:gd name="T51" fmla="*/ 30 h 42"/>
                  <a:gd name="T52" fmla="*/ 0 w 249"/>
                  <a:gd name="T53" fmla="*/ 26 h 42"/>
                  <a:gd name="T54" fmla="*/ 0 w 249"/>
                  <a:gd name="T55" fmla="*/ 25 h 42"/>
                  <a:gd name="T56" fmla="*/ 0 w 249"/>
                  <a:gd name="T57" fmla="*/ 23 h 42"/>
                  <a:gd name="T58" fmla="*/ 0 w 249"/>
                  <a:gd name="T59" fmla="*/ 21 h 42"/>
                  <a:gd name="T60" fmla="*/ 0 w 249"/>
                  <a:gd name="T61" fmla="*/ 21 h 42"/>
                  <a:gd name="T62" fmla="*/ 0 w 249"/>
                  <a:gd name="T63" fmla="*/ 21 h 42"/>
                  <a:gd name="T64" fmla="*/ 0 w 249"/>
                  <a:gd name="T65" fmla="*/ 17 h 42"/>
                  <a:gd name="T66" fmla="*/ 0 w 249"/>
                  <a:gd name="T67" fmla="*/ 11 h 42"/>
                  <a:gd name="T68" fmla="*/ 1 w 249"/>
                  <a:gd name="T69" fmla="*/ 7 h 42"/>
                  <a:gd name="T70" fmla="*/ 5 w 249"/>
                  <a:gd name="T71" fmla="*/ 3 h 42"/>
                  <a:gd name="T72" fmla="*/ 9 w 249"/>
                  <a:gd name="T73" fmla="*/ 1 h 42"/>
                  <a:gd name="T74" fmla="*/ 13 w 249"/>
                  <a:gd name="T75" fmla="*/ 0 h 42"/>
                  <a:gd name="T76" fmla="*/ 17 w 249"/>
                  <a:gd name="T77" fmla="*/ 0 h 42"/>
                  <a:gd name="T78" fmla="*/ 19 w 249"/>
                  <a:gd name="T79" fmla="*/ 0 h 42"/>
                  <a:gd name="T80" fmla="*/ 21 w 249"/>
                  <a:gd name="T8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9" h="42">
                    <a:moveTo>
                      <a:pt x="21" y="0"/>
                    </a:moveTo>
                    <a:lnTo>
                      <a:pt x="228" y="0"/>
                    </a:lnTo>
                    <a:lnTo>
                      <a:pt x="236" y="0"/>
                    </a:lnTo>
                    <a:lnTo>
                      <a:pt x="240" y="1"/>
                    </a:lnTo>
                    <a:lnTo>
                      <a:pt x="243" y="5"/>
                    </a:lnTo>
                    <a:lnTo>
                      <a:pt x="247" y="7"/>
                    </a:lnTo>
                    <a:lnTo>
                      <a:pt x="247" y="11"/>
                    </a:lnTo>
                    <a:lnTo>
                      <a:pt x="249" y="15"/>
                    </a:lnTo>
                    <a:lnTo>
                      <a:pt x="249" y="17"/>
                    </a:lnTo>
                    <a:lnTo>
                      <a:pt x="249" y="17"/>
                    </a:lnTo>
                    <a:lnTo>
                      <a:pt x="249" y="21"/>
                    </a:lnTo>
                    <a:lnTo>
                      <a:pt x="249" y="28"/>
                    </a:lnTo>
                    <a:lnTo>
                      <a:pt x="247" y="32"/>
                    </a:lnTo>
                    <a:lnTo>
                      <a:pt x="243" y="36"/>
                    </a:lnTo>
                    <a:lnTo>
                      <a:pt x="240" y="38"/>
                    </a:lnTo>
                    <a:lnTo>
                      <a:pt x="238" y="40"/>
                    </a:lnTo>
                    <a:lnTo>
                      <a:pt x="234" y="42"/>
                    </a:lnTo>
                    <a:lnTo>
                      <a:pt x="230" y="42"/>
                    </a:lnTo>
                    <a:lnTo>
                      <a:pt x="228" y="42"/>
                    </a:lnTo>
                    <a:lnTo>
                      <a:pt x="228" y="42"/>
                    </a:lnTo>
                    <a:lnTo>
                      <a:pt x="21" y="42"/>
                    </a:lnTo>
                    <a:lnTo>
                      <a:pt x="13" y="42"/>
                    </a:lnTo>
                    <a:lnTo>
                      <a:pt x="9" y="40"/>
                    </a:lnTo>
                    <a:lnTo>
                      <a:pt x="5" y="36"/>
                    </a:lnTo>
                    <a:lnTo>
                      <a:pt x="3" y="34"/>
                    </a:lnTo>
                    <a:lnTo>
                      <a:pt x="1" y="30"/>
                    </a:lnTo>
                    <a:lnTo>
                      <a:pt x="0" y="26"/>
                    </a:lnTo>
                    <a:lnTo>
                      <a:pt x="0" y="25"/>
                    </a:lnTo>
                    <a:lnTo>
                      <a:pt x="0" y="23"/>
                    </a:lnTo>
                    <a:lnTo>
                      <a:pt x="0" y="21"/>
                    </a:lnTo>
                    <a:lnTo>
                      <a:pt x="0" y="21"/>
                    </a:lnTo>
                    <a:lnTo>
                      <a:pt x="0" y="21"/>
                    </a:lnTo>
                    <a:lnTo>
                      <a:pt x="0" y="17"/>
                    </a:lnTo>
                    <a:lnTo>
                      <a:pt x="0" y="11"/>
                    </a:lnTo>
                    <a:lnTo>
                      <a:pt x="1" y="7"/>
                    </a:lnTo>
                    <a:lnTo>
                      <a:pt x="5" y="3"/>
                    </a:lnTo>
                    <a:lnTo>
                      <a:pt x="9" y="1"/>
                    </a:lnTo>
                    <a:lnTo>
                      <a:pt x="13"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0" name="Freeform 899"/>
              <p:cNvSpPr>
                <a:spLocks/>
              </p:cNvSpPr>
              <p:nvPr/>
            </p:nvSpPr>
            <p:spPr bwMode="auto">
              <a:xfrm>
                <a:off x="8951913" y="5440363"/>
                <a:ext cx="395288" cy="73025"/>
              </a:xfrm>
              <a:custGeom>
                <a:avLst/>
                <a:gdLst>
                  <a:gd name="T0" fmla="*/ 21 w 249"/>
                  <a:gd name="T1" fmla="*/ 0 h 46"/>
                  <a:gd name="T2" fmla="*/ 228 w 249"/>
                  <a:gd name="T3" fmla="*/ 0 h 46"/>
                  <a:gd name="T4" fmla="*/ 234 w 249"/>
                  <a:gd name="T5" fmla="*/ 2 h 46"/>
                  <a:gd name="T6" fmla="*/ 240 w 249"/>
                  <a:gd name="T7" fmla="*/ 4 h 46"/>
                  <a:gd name="T8" fmla="*/ 243 w 249"/>
                  <a:gd name="T9" fmla="*/ 6 h 46"/>
                  <a:gd name="T10" fmla="*/ 245 w 249"/>
                  <a:gd name="T11" fmla="*/ 10 h 46"/>
                  <a:gd name="T12" fmla="*/ 247 w 249"/>
                  <a:gd name="T13" fmla="*/ 14 h 46"/>
                  <a:gd name="T14" fmla="*/ 247 w 249"/>
                  <a:gd name="T15" fmla="*/ 18 h 46"/>
                  <a:gd name="T16" fmla="*/ 249 w 249"/>
                  <a:gd name="T17" fmla="*/ 20 h 46"/>
                  <a:gd name="T18" fmla="*/ 249 w 249"/>
                  <a:gd name="T19" fmla="*/ 22 h 46"/>
                  <a:gd name="T20" fmla="*/ 249 w 249"/>
                  <a:gd name="T21" fmla="*/ 22 h 46"/>
                  <a:gd name="T22" fmla="*/ 249 w 249"/>
                  <a:gd name="T23" fmla="*/ 27 h 46"/>
                  <a:gd name="T24" fmla="*/ 247 w 249"/>
                  <a:gd name="T25" fmla="*/ 33 h 46"/>
                  <a:gd name="T26" fmla="*/ 245 w 249"/>
                  <a:gd name="T27" fmla="*/ 37 h 46"/>
                  <a:gd name="T28" fmla="*/ 242 w 249"/>
                  <a:gd name="T29" fmla="*/ 41 h 46"/>
                  <a:gd name="T30" fmla="*/ 238 w 249"/>
                  <a:gd name="T31" fmla="*/ 43 h 46"/>
                  <a:gd name="T32" fmla="*/ 236 w 249"/>
                  <a:gd name="T33" fmla="*/ 45 h 46"/>
                  <a:gd name="T34" fmla="*/ 232 w 249"/>
                  <a:gd name="T35" fmla="*/ 45 h 46"/>
                  <a:gd name="T36" fmla="*/ 230 w 249"/>
                  <a:gd name="T37" fmla="*/ 46 h 46"/>
                  <a:gd name="T38" fmla="*/ 228 w 249"/>
                  <a:gd name="T39" fmla="*/ 46 h 46"/>
                  <a:gd name="T40" fmla="*/ 226 w 249"/>
                  <a:gd name="T41" fmla="*/ 46 h 46"/>
                  <a:gd name="T42" fmla="*/ 222 w 249"/>
                  <a:gd name="T43" fmla="*/ 46 h 46"/>
                  <a:gd name="T44" fmla="*/ 215 w 249"/>
                  <a:gd name="T45" fmla="*/ 46 h 46"/>
                  <a:gd name="T46" fmla="*/ 184 w 249"/>
                  <a:gd name="T47" fmla="*/ 46 h 46"/>
                  <a:gd name="T48" fmla="*/ 157 w 249"/>
                  <a:gd name="T49" fmla="*/ 46 h 46"/>
                  <a:gd name="T50" fmla="*/ 122 w 249"/>
                  <a:gd name="T51" fmla="*/ 46 h 46"/>
                  <a:gd name="T52" fmla="*/ 21 w 249"/>
                  <a:gd name="T53" fmla="*/ 46 h 46"/>
                  <a:gd name="T54" fmla="*/ 13 w 249"/>
                  <a:gd name="T55" fmla="*/ 45 h 46"/>
                  <a:gd name="T56" fmla="*/ 7 w 249"/>
                  <a:gd name="T57" fmla="*/ 43 h 46"/>
                  <a:gd name="T58" fmla="*/ 3 w 249"/>
                  <a:gd name="T59" fmla="*/ 39 h 46"/>
                  <a:gd name="T60" fmla="*/ 1 w 249"/>
                  <a:gd name="T61" fmla="*/ 37 h 46"/>
                  <a:gd name="T62" fmla="*/ 0 w 249"/>
                  <a:gd name="T63" fmla="*/ 33 h 46"/>
                  <a:gd name="T64" fmla="*/ 0 w 249"/>
                  <a:gd name="T65" fmla="*/ 29 h 46"/>
                  <a:gd name="T66" fmla="*/ 0 w 249"/>
                  <a:gd name="T67" fmla="*/ 27 h 46"/>
                  <a:gd name="T68" fmla="*/ 0 w 249"/>
                  <a:gd name="T69" fmla="*/ 27 h 46"/>
                  <a:gd name="T70" fmla="*/ 0 w 249"/>
                  <a:gd name="T71" fmla="*/ 27 h 46"/>
                  <a:gd name="T72" fmla="*/ 0 w 249"/>
                  <a:gd name="T73" fmla="*/ 25 h 46"/>
                  <a:gd name="T74" fmla="*/ 0 w 249"/>
                  <a:gd name="T75" fmla="*/ 22 h 46"/>
                  <a:gd name="T76" fmla="*/ 0 w 249"/>
                  <a:gd name="T77" fmla="*/ 16 h 46"/>
                  <a:gd name="T78" fmla="*/ 1 w 249"/>
                  <a:gd name="T79" fmla="*/ 12 h 46"/>
                  <a:gd name="T80" fmla="*/ 5 w 249"/>
                  <a:gd name="T81" fmla="*/ 8 h 46"/>
                  <a:gd name="T82" fmla="*/ 7 w 249"/>
                  <a:gd name="T83" fmla="*/ 4 h 46"/>
                  <a:gd name="T84" fmla="*/ 11 w 249"/>
                  <a:gd name="T85" fmla="*/ 2 h 46"/>
                  <a:gd name="T86" fmla="*/ 15 w 249"/>
                  <a:gd name="T87" fmla="*/ 2 h 46"/>
                  <a:gd name="T88" fmla="*/ 17 w 249"/>
                  <a:gd name="T89" fmla="*/ 2 h 46"/>
                  <a:gd name="T90" fmla="*/ 19 w 249"/>
                  <a:gd name="T91" fmla="*/ 0 h 46"/>
                  <a:gd name="T92" fmla="*/ 21 w 249"/>
                  <a:gd name="T9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9" h="46">
                    <a:moveTo>
                      <a:pt x="21" y="0"/>
                    </a:moveTo>
                    <a:lnTo>
                      <a:pt x="228" y="0"/>
                    </a:lnTo>
                    <a:lnTo>
                      <a:pt x="234" y="2"/>
                    </a:lnTo>
                    <a:lnTo>
                      <a:pt x="240" y="4"/>
                    </a:lnTo>
                    <a:lnTo>
                      <a:pt x="243" y="6"/>
                    </a:lnTo>
                    <a:lnTo>
                      <a:pt x="245" y="10"/>
                    </a:lnTo>
                    <a:lnTo>
                      <a:pt x="247" y="14"/>
                    </a:lnTo>
                    <a:lnTo>
                      <a:pt x="247" y="18"/>
                    </a:lnTo>
                    <a:lnTo>
                      <a:pt x="249" y="20"/>
                    </a:lnTo>
                    <a:lnTo>
                      <a:pt x="249" y="22"/>
                    </a:lnTo>
                    <a:lnTo>
                      <a:pt x="249" y="22"/>
                    </a:lnTo>
                    <a:lnTo>
                      <a:pt x="249" y="27"/>
                    </a:lnTo>
                    <a:lnTo>
                      <a:pt x="247" y="33"/>
                    </a:lnTo>
                    <a:lnTo>
                      <a:pt x="245" y="37"/>
                    </a:lnTo>
                    <a:lnTo>
                      <a:pt x="242" y="41"/>
                    </a:lnTo>
                    <a:lnTo>
                      <a:pt x="238" y="43"/>
                    </a:lnTo>
                    <a:lnTo>
                      <a:pt x="236" y="45"/>
                    </a:lnTo>
                    <a:lnTo>
                      <a:pt x="232" y="45"/>
                    </a:lnTo>
                    <a:lnTo>
                      <a:pt x="230" y="46"/>
                    </a:lnTo>
                    <a:lnTo>
                      <a:pt x="228" y="46"/>
                    </a:lnTo>
                    <a:lnTo>
                      <a:pt x="226" y="46"/>
                    </a:lnTo>
                    <a:lnTo>
                      <a:pt x="222" y="46"/>
                    </a:lnTo>
                    <a:lnTo>
                      <a:pt x="215" y="46"/>
                    </a:lnTo>
                    <a:lnTo>
                      <a:pt x="184" y="46"/>
                    </a:lnTo>
                    <a:lnTo>
                      <a:pt x="157" y="46"/>
                    </a:lnTo>
                    <a:lnTo>
                      <a:pt x="122" y="46"/>
                    </a:lnTo>
                    <a:lnTo>
                      <a:pt x="21" y="46"/>
                    </a:lnTo>
                    <a:lnTo>
                      <a:pt x="13" y="45"/>
                    </a:lnTo>
                    <a:lnTo>
                      <a:pt x="7" y="43"/>
                    </a:lnTo>
                    <a:lnTo>
                      <a:pt x="3" y="39"/>
                    </a:lnTo>
                    <a:lnTo>
                      <a:pt x="1" y="37"/>
                    </a:lnTo>
                    <a:lnTo>
                      <a:pt x="0" y="33"/>
                    </a:lnTo>
                    <a:lnTo>
                      <a:pt x="0" y="29"/>
                    </a:lnTo>
                    <a:lnTo>
                      <a:pt x="0" y="27"/>
                    </a:lnTo>
                    <a:lnTo>
                      <a:pt x="0" y="27"/>
                    </a:lnTo>
                    <a:lnTo>
                      <a:pt x="0" y="27"/>
                    </a:lnTo>
                    <a:lnTo>
                      <a:pt x="0" y="25"/>
                    </a:lnTo>
                    <a:lnTo>
                      <a:pt x="0" y="22"/>
                    </a:lnTo>
                    <a:lnTo>
                      <a:pt x="0" y="16"/>
                    </a:lnTo>
                    <a:lnTo>
                      <a:pt x="1" y="12"/>
                    </a:lnTo>
                    <a:lnTo>
                      <a:pt x="5" y="8"/>
                    </a:lnTo>
                    <a:lnTo>
                      <a:pt x="7" y="4"/>
                    </a:lnTo>
                    <a:lnTo>
                      <a:pt x="11" y="2"/>
                    </a:lnTo>
                    <a:lnTo>
                      <a:pt x="15" y="2"/>
                    </a:lnTo>
                    <a:lnTo>
                      <a:pt x="17" y="2"/>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1" name="Freeform 900"/>
              <p:cNvSpPr>
                <a:spLocks/>
              </p:cNvSpPr>
              <p:nvPr/>
            </p:nvSpPr>
            <p:spPr bwMode="auto">
              <a:xfrm>
                <a:off x="8951913" y="5568950"/>
                <a:ext cx="395288" cy="69850"/>
              </a:xfrm>
              <a:custGeom>
                <a:avLst/>
                <a:gdLst>
                  <a:gd name="T0" fmla="*/ 134 w 249"/>
                  <a:gd name="T1" fmla="*/ 0 h 44"/>
                  <a:gd name="T2" fmla="*/ 140 w 249"/>
                  <a:gd name="T3" fmla="*/ 0 h 44"/>
                  <a:gd name="T4" fmla="*/ 228 w 249"/>
                  <a:gd name="T5" fmla="*/ 0 h 44"/>
                  <a:gd name="T6" fmla="*/ 236 w 249"/>
                  <a:gd name="T7" fmla="*/ 0 h 44"/>
                  <a:gd name="T8" fmla="*/ 240 w 249"/>
                  <a:gd name="T9" fmla="*/ 4 h 44"/>
                  <a:gd name="T10" fmla="*/ 243 w 249"/>
                  <a:gd name="T11" fmla="*/ 6 h 44"/>
                  <a:gd name="T12" fmla="*/ 247 w 249"/>
                  <a:gd name="T13" fmla="*/ 10 h 44"/>
                  <a:gd name="T14" fmla="*/ 247 w 249"/>
                  <a:gd name="T15" fmla="*/ 13 h 44"/>
                  <a:gd name="T16" fmla="*/ 249 w 249"/>
                  <a:gd name="T17" fmla="*/ 15 h 44"/>
                  <a:gd name="T18" fmla="*/ 249 w 249"/>
                  <a:gd name="T19" fmla="*/ 17 h 44"/>
                  <a:gd name="T20" fmla="*/ 249 w 249"/>
                  <a:gd name="T21" fmla="*/ 19 h 44"/>
                  <a:gd name="T22" fmla="*/ 249 w 249"/>
                  <a:gd name="T23" fmla="*/ 23 h 44"/>
                  <a:gd name="T24" fmla="*/ 249 w 249"/>
                  <a:gd name="T25" fmla="*/ 29 h 44"/>
                  <a:gd name="T26" fmla="*/ 247 w 249"/>
                  <a:gd name="T27" fmla="*/ 35 h 44"/>
                  <a:gd name="T28" fmla="*/ 243 w 249"/>
                  <a:gd name="T29" fmla="*/ 36 h 44"/>
                  <a:gd name="T30" fmla="*/ 240 w 249"/>
                  <a:gd name="T31" fmla="*/ 40 h 44"/>
                  <a:gd name="T32" fmla="*/ 238 w 249"/>
                  <a:gd name="T33" fmla="*/ 42 h 44"/>
                  <a:gd name="T34" fmla="*/ 234 w 249"/>
                  <a:gd name="T35" fmla="*/ 42 h 44"/>
                  <a:gd name="T36" fmla="*/ 230 w 249"/>
                  <a:gd name="T37" fmla="*/ 44 h 44"/>
                  <a:gd name="T38" fmla="*/ 228 w 249"/>
                  <a:gd name="T39" fmla="*/ 44 h 44"/>
                  <a:gd name="T40" fmla="*/ 228 w 249"/>
                  <a:gd name="T41" fmla="*/ 44 h 44"/>
                  <a:gd name="T42" fmla="*/ 21 w 249"/>
                  <a:gd name="T43" fmla="*/ 44 h 44"/>
                  <a:gd name="T44" fmla="*/ 13 w 249"/>
                  <a:gd name="T45" fmla="*/ 42 h 44"/>
                  <a:gd name="T46" fmla="*/ 9 w 249"/>
                  <a:gd name="T47" fmla="*/ 40 h 44"/>
                  <a:gd name="T48" fmla="*/ 5 w 249"/>
                  <a:gd name="T49" fmla="*/ 38 h 44"/>
                  <a:gd name="T50" fmla="*/ 3 w 249"/>
                  <a:gd name="T51" fmla="*/ 35 h 44"/>
                  <a:gd name="T52" fmla="*/ 1 w 249"/>
                  <a:gd name="T53" fmla="*/ 31 h 44"/>
                  <a:gd name="T54" fmla="*/ 0 w 249"/>
                  <a:gd name="T55" fmla="*/ 29 h 44"/>
                  <a:gd name="T56" fmla="*/ 0 w 249"/>
                  <a:gd name="T57" fmla="*/ 25 h 44"/>
                  <a:gd name="T58" fmla="*/ 0 w 249"/>
                  <a:gd name="T59" fmla="*/ 23 h 44"/>
                  <a:gd name="T60" fmla="*/ 0 w 249"/>
                  <a:gd name="T61" fmla="*/ 23 h 44"/>
                  <a:gd name="T62" fmla="*/ 0 w 249"/>
                  <a:gd name="T63" fmla="*/ 23 h 44"/>
                  <a:gd name="T64" fmla="*/ 0 w 249"/>
                  <a:gd name="T65" fmla="*/ 21 h 44"/>
                  <a:gd name="T66" fmla="*/ 0 w 249"/>
                  <a:gd name="T67" fmla="*/ 19 h 44"/>
                  <a:gd name="T68" fmla="*/ 0 w 249"/>
                  <a:gd name="T69" fmla="*/ 13 h 44"/>
                  <a:gd name="T70" fmla="*/ 1 w 249"/>
                  <a:gd name="T71" fmla="*/ 8 h 44"/>
                  <a:gd name="T72" fmla="*/ 5 w 249"/>
                  <a:gd name="T73" fmla="*/ 4 h 44"/>
                  <a:gd name="T74" fmla="*/ 9 w 249"/>
                  <a:gd name="T75" fmla="*/ 2 h 44"/>
                  <a:gd name="T76" fmla="*/ 13 w 249"/>
                  <a:gd name="T77" fmla="*/ 2 h 44"/>
                  <a:gd name="T78" fmla="*/ 17 w 249"/>
                  <a:gd name="T79" fmla="*/ 0 h 44"/>
                  <a:gd name="T80" fmla="*/ 19 w 249"/>
                  <a:gd name="T81" fmla="*/ 0 h 44"/>
                  <a:gd name="T82" fmla="*/ 21 w 249"/>
                  <a:gd name="T83" fmla="*/ 0 h 44"/>
                  <a:gd name="T84" fmla="*/ 132 w 249"/>
                  <a:gd name="T85" fmla="*/ 0 h 44"/>
                  <a:gd name="T86" fmla="*/ 134 w 249"/>
                  <a:gd name="T8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9" h="44">
                    <a:moveTo>
                      <a:pt x="134" y="0"/>
                    </a:moveTo>
                    <a:lnTo>
                      <a:pt x="140" y="0"/>
                    </a:lnTo>
                    <a:lnTo>
                      <a:pt x="228" y="0"/>
                    </a:lnTo>
                    <a:lnTo>
                      <a:pt x="236" y="0"/>
                    </a:lnTo>
                    <a:lnTo>
                      <a:pt x="240" y="4"/>
                    </a:lnTo>
                    <a:lnTo>
                      <a:pt x="243" y="6"/>
                    </a:lnTo>
                    <a:lnTo>
                      <a:pt x="247" y="10"/>
                    </a:lnTo>
                    <a:lnTo>
                      <a:pt x="247" y="13"/>
                    </a:lnTo>
                    <a:lnTo>
                      <a:pt x="249" y="15"/>
                    </a:lnTo>
                    <a:lnTo>
                      <a:pt x="249" y="17"/>
                    </a:lnTo>
                    <a:lnTo>
                      <a:pt x="249" y="19"/>
                    </a:lnTo>
                    <a:lnTo>
                      <a:pt x="249" y="23"/>
                    </a:lnTo>
                    <a:lnTo>
                      <a:pt x="249" y="29"/>
                    </a:lnTo>
                    <a:lnTo>
                      <a:pt x="247" y="35"/>
                    </a:lnTo>
                    <a:lnTo>
                      <a:pt x="243" y="36"/>
                    </a:lnTo>
                    <a:lnTo>
                      <a:pt x="240" y="40"/>
                    </a:lnTo>
                    <a:lnTo>
                      <a:pt x="238" y="42"/>
                    </a:lnTo>
                    <a:lnTo>
                      <a:pt x="234" y="42"/>
                    </a:lnTo>
                    <a:lnTo>
                      <a:pt x="230" y="44"/>
                    </a:lnTo>
                    <a:lnTo>
                      <a:pt x="228" y="44"/>
                    </a:lnTo>
                    <a:lnTo>
                      <a:pt x="228" y="44"/>
                    </a:lnTo>
                    <a:lnTo>
                      <a:pt x="21" y="44"/>
                    </a:lnTo>
                    <a:lnTo>
                      <a:pt x="13" y="42"/>
                    </a:lnTo>
                    <a:lnTo>
                      <a:pt x="9" y="40"/>
                    </a:lnTo>
                    <a:lnTo>
                      <a:pt x="5" y="38"/>
                    </a:lnTo>
                    <a:lnTo>
                      <a:pt x="3" y="35"/>
                    </a:lnTo>
                    <a:lnTo>
                      <a:pt x="1" y="31"/>
                    </a:lnTo>
                    <a:lnTo>
                      <a:pt x="0" y="29"/>
                    </a:lnTo>
                    <a:lnTo>
                      <a:pt x="0" y="25"/>
                    </a:lnTo>
                    <a:lnTo>
                      <a:pt x="0" y="23"/>
                    </a:lnTo>
                    <a:lnTo>
                      <a:pt x="0" y="23"/>
                    </a:lnTo>
                    <a:lnTo>
                      <a:pt x="0" y="23"/>
                    </a:lnTo>
                    <a:lnTo>
                      <a:pt x="0" y="21"/>
                    </a:lnTo>
                    <a:lnTo>
                      <a:pt x="0" y="19"/>
                    </a:lnTo>
                    <a:lnTo>
                      <a:pt x="0" y="13"/>
                    </a:lnTo>
                    <a:lnTo>
                      <a:pt x="1" y="8"/>
                    </a:lnTo>
                    <a:lnTo>
                      <a:pt x="5" y="4"/>
                    </a:lnTo>
                    <a:lnTo>
                      <a:pt x="9" y="2"/>
                    </a:lnTo>
                    <a:lnTo>
                      <a:pt x="13" y="2"/>
                    </a:lnTo>
                    <a:lnTo>
                      <a:pt x="17" y="0"/>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2" name="Freeform 901"/>
              <p:cNvSpPr>
                <a:spLocks/>
              </p:cNvSpPr>
              <p:nvPr/>
            </p:nvSpPr>
            <p:spPr bwMode="auto">
              <a:xfrm>
                <a:off x="8951913" y="5691188"/>
                <a:ext cx="395288" cy="73025"/>
              </a:xfrm>
              <a:custGeom>
                <a:avLst/>
                <a:gdLst>
                  <a:gd name="T0" fmla="*/ 21 w 249"/>
                  <a:gd name="T1" fmla="*/ 0 h 46"/>
                  <a:gd name="T2" fmla="*/ 228 w 249"/>
                  <a:gd name="T3" fmla="*/ 0 h 46"/>
                  <a:gd name="T4" fmla="*/ 234 w 249"/>
                  <a:gd name="T5" fmla="*/ 0 h 46"/>
                  <a:gd name="T6" fmla="*/ 240 w 249"/>
                  <a:gd name="T7" fmla="*/ 2 h 46"/>
                  <a:gd name="T8" fmla="*/ 243 w 249"/>
                  <a:gd name="T9" fmla="*/ 6 h 46"/>
                  <a:gd name="T10" fmla="*/ 245 w 249"/>
                  <a:gd name="T11" fmla="*/ 7 h 46"/>
                  <a:gd name="T12" fmla="*/ 247 w 249"/>
                  <a:gd name="T13" fmla="*/ 11 h 46"/>
                  <a:gd name="T14" fmla="*/ 247 w 249"/>
                  <a:gd name="T15" fmla="*/ 15 h 46"/>
                  <a:gd name="T16" fmla="*/ 249 w 249"/>
                  <a:gd name="T17" fmla="*/ 17 h 46"/>
                  <a:gd name="T18" fmla="*/ 249 w 249"/>
                  <a:gd name="T19" fmla="*/ 19 h 46"/>
                  <a:gd name="T20" fmla="*/ 249 w 249"/>
                  <a:gd name="T21" fmla="*/ 21 h 46"/>
                  <a:gd name="T22" fmla="*/ 249 w 249"/>
                  <a:gd name="T23" fmla="*/ 25 h 46"/>
                  <a:gd name="T24" fmla="*/ 249 w 249"/>
                  <a:gd name="T25" fmla="*/ 30 h 46"/>
                  <a:gd name="T26" fmla="*/ 247 w 249"/>
                  <a:gd name="T27" fmla="*/ 36 h 46"/>
                  <a:gd name="T28" fmla="*/ 243 w 249"/>
                  <a:gd name="T29" fmla="*/ 38 h 46"/>
                  <a:gd name="T30" fmla="*/ 240 w 249"/>
                  <a:gd name="T31" fmla="*/ 42 h 46"/>
                  <a:gd name="T32" fmla="*/ 238 w 249"/>
                  <a:gd name="T33" fmla="*/ 44 h 46"/>
                  <a:gd name="T34" fmla="*/ 234 w 249"/>
                  <a:gd name="T35" fmla="*/ 44 h 46"/>
                  <a:gd name="T36" fmla="*/ 230 w 249"/>
                  <a:gd name="T37" fmla="*/ 46 h 46"/>
                  <a:gd name="T38" fmla="*/ 228 w 249"/>
                  <a:gd name="T39" fmla="*/ 46 h 46"/>
                  <a:gd name="T40" fmla="*/ 228 w 249"/>
                  <a:gd name="T41" fmla="*/ 46 h 46"/>
                  <a:gd name="T42" fmla="*/ 21 w 249"/>
                  <a:gd name="T43" fmla="*/ 46 h 46"/>
                  <a:gd name="T44" fmla="*/ 13 w 249"/>
                  <a:gd name="T45" fmla="*/ 44 h 46"/>
                  <a:gd name="T46" fmla="*/ 9 w 249"/>
                  <a:gd name="T47" fmla="*/ 42 h 46"/>
                  <a:gd name="T48" fmla="*/ 5 w 249"/>
                  <a:gd name="T49" fmla="*/ 40 h 46"/>
                  <a:gd name="T50" fmla="*/ 3 w 249"/>
                  <a:gd name="T51" fmla="*/ 36 h 46"/>
                  <a:gd name="T52" fmla="*/ 1 w 249"/>
                  <a:gd name="T53" fmla="*/ 32 h 46"/>
                  <a:gd name="T54" fmla="*/ 0 w 249"/>
                  <a:gd name="T55" fmla="*/ 30 h 46"/>
                  <a:gd name="T56" fmla="*/ 0 w 249"/>
                  <a:gd name="T57" fmla="*/ 27 h 46"/>
                  <a:gd name="T58" fmla="*/ 0 w 249"/>
                  <a:gd name="T59" fmla="*/ 25 h 46"/>
                  <a:gd name="T60" fmla="*/ 0 w 249"/>
                  <a:gd name="T61" fmla="*/ 25 h 46"/>
                  <a:gd name="T62" fmla="*/ 0 w 249"/>
                  <a:gd name="T63" fmla="*/ 25 h 46"/>
                  <a:gd name="T64" fmla="*/ 0 w 249"/>
                  <a:gd name="T65" fmla="*/ 23 h 46"/>
                  <a:gd name="T66" fmla="*/ 0 w 249"/>
                  <a:gd name="T67" fmla="*/ 21 h 46"/>
                  <a:gd name="T68" fmla="*/ 0 w 249"/>
                  <a:gd name="T69" fmla="*/ 15 h 46"/>
                  <a:gd name="T70" fmla="*/ 1 w 249"/>
                  <a:gd name="T71" fmla="*/ 9 h 46"/>
                  <a:gd name="T72" fmla="*/ 5 w 249"/>
                  <a:gd name="T73" fmla="*/ 6 h 46"/>
                  <a:gd name="T74" fmla="*/ 7 w 249"/>
                  <a:gd name="T75" fmla="*/ 4 h 46"/>
                  <a:gd name="T76" fmla="*/ 11 w 249"/>
                  <a:gd name="T77" fmla="*/ 2 h 46"/>
                  <a:gd name="T78" fmla="*/ 15 w 249"/>
                  <a:gd name="T79" fmla="*/ 0 h 46"/>
                  <a:gd name="T80" fmla="*/ 17 w 249"/>
                  <a:gd name="T81" fmla="*/ 0 h 46"/>
                  <a:gd name="T82" fmla="*/ 19 w 249"/>
                  <a:gd name="T83" fmla="*/ 0 h 46"/>
                  <a:gd name="T84" fmla="*/ 21 w 249"/>
                  <a:gd name="T8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9" h="46">
                    <a:moveTo>
                      <a:pt x="21" y="0"/>
                    </a:moveTo>
                    <a:lnTo>
                      <a:pt x="228" y="0"/>
                    </a:lnTo>
                    <a:lnTo>
                      <a:pt x="234" y="0"/>
                    </a:lnTo>
                    <a:lnTo>
                      <a:pt x="240" y="2"/>
                    </a:lnTo>
                    <a:lnTo>
                      <a:pt x="243" y="6"/>
                    </a:lnTo>
                    <a:lnTo>
                      <a:pt x="245" y="7"/>
                    </a:lnTo>
                    <a:lnTo>
                      <a:pt x="247" y="11"/>
                    </a:lnTo>
                    <a:lnTo>
                      <a:pt x="247" y="15"/>
                    </a:lnTo>
                    <a:lnTo>
                      <a:pt x="249" y="17"/>
                    </a:lnTo>
                    <a:lnTo>
                      <a:pt x="249" y="19"/>
                    </a:lnTo>
                    <a:lnTo>
                      <a:pt x="249" y="21"/>
                    </a:lnTo>
                    <a:lnTo>
                      <a:pt x="249" y="25"/>
                    </a:lnTo>
                    <a:lnTo>
                      <a:pt x="249" y="30"/>
                    </a:lnTo>
                    <a:lnTo>
                      <a:pt x="247" y="36"/>
                    </a:lnTo>
                    <a:lnTo>
                      <a:pt x="243" y="38"/>
                    </a:lnTo>
                    <a:lnTo>
                      <a:pt x="240" y="42"/>
                    </a:lnTo>
                    <a:lnTo>
                      <a:pt x="238" y="44"/>
                    </a:lnTo>
                    <a:lnTo>
                      <a:pt x="234" y="44"/>
                    </a:lnTo>
                    <a:lnTo>
                      <a:pt x="230" y="46"/>
                    </a:lnTo>
                    <a:lnTo>
                      <a:pt x="228" y="46"/>
                    </a:lnTo>
                    <a:lnTo>
                      <a:pt x="228" y="46"/>
                    </a:lnTo>
                    <a:lnTo>
                      <a:pt x="21" y="46"/>
                    </a:lnTo>
                    <a:lnTo>
                      <a:pt x="13" y="44"/>
                    </a:lnTo>
                    <a:lnTo>
                      <a:pt x="9" y="42"/>
                    </a:lnTo>
                    <a:lnTo>
                      <a:pt x="5" y="40"/>
                    </a:lnTo>
                    <a:lnTo>
                      <a:pt x="3" y="36"/>
                    </a:lnTo>
                    <a:lnTo>
                      <a:pt x="1" y="32"/>
                    </a:lnTo>
                    <a:lnTo>
                      <a:pt x="0" y="30"/>
                    </a:lnTo>
                    <a:lnTo>
                      <a:pt x="0" y="27"/>
                    </a:lnTo>
                    <a:lnTo>
                      <a:pt x="0" y="25"/>
                    </a:lnTo>
                    <a:lnTo>
                      <a:pt x="0" y="25"/>
                    </a:lnTo>
                    <a:lnTo>
                      <a:pt x="0" y="25"/>
                    </a:lnTo>
                    <a:lnTo>
                      <a:pt x="0" y="23"/>
                    </a:lnTo>
                    <a:lnTo>
                      <a:pt x="0" y="21"/>
                    </a:lnTo>
                    <a:lnTo>
                      <a:pt x="0" y="15"/>
                    </a:lnTo>
                    <a:lnTo>
                      <a:pt x="1" y="9"/>
                    </a:lnTo>
                    <a:lnTo>
                      <a:pt x="5" y="6"/>
                    </a:lnTo>
                    <a:lnTo>
                      <a:pt x="7" y="4"/>
                    </a:lnTo>
                    <a:lnTo>
                      <a:pt x="11" y="2"/>
                    </a:lnTo>
                    <a:lnTo>
                      <a:pt x="15" y="0"/>
                    </a:lnTo>
                    <a:lnTo>
                      <a:pt x="17" y="0"/>
                    </a:lnTo>
                    <a:lnTo>
                      <a:pt x="19" y="0"/>
                    </a:lnTo>
                    <a:lnTo>
                      <a:pt x="21"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3" name="Freeform 902"/>
              <p:cNvSpPr>
                <a:spLocks/>
              </p:cNvSpPr>
              <p:nvPr/>
            </p:nvSpPr>
            <p:spPr bwMode="auto">
              <a:xfrm>
                <a:off x="8951913" y="5813425"/>
                <a:ext cx="395288" cy="73025"/>
              </a:xfrm>
              <a:custGeom>
                <a:avLst/>
                <a:gdLst>
                  <a:gd name="T0" fmla="*/ 134 w 249"/>
                  <a:gd name="T1" fmla="*/ 0 h 46"/>
                  <a:gd name="T2" fmla="*/ 140 w 249"/>
                  <a:gd name="T3" fmla="*/ 0 h 46"/>
                  <a:gd name="T4" fmla="*/ 149 w 249"/>
                  <a:gd name="T5" fmla="*/ 0 h 46"/>
                  <a:gd name="T6" fmla="*/ 167 w 249"/>
                  <a:gd name="T7" fmla="*/ 0 h 46"/>
                  <a:gd name="T8" fmla="*/ 192 w 249"/>
                  <a:gd name="T9" fmla="*/ 0 h 46"/>
                  <a:gd name="T10" fmla="*/ 228 w 249"/>
                  <a:gd name="T11" fmla="*/ 0 h 46"/>
                  <a:gd name="T12" fmla="*/ 234 w 249"/>
                  <a:gd name="T13" fmla="*/ 1 h 46"/>
                  <a:gd name="T14" fmla="*/ 240 w 249"/>
                  <a:gd name="T15" fmla="*/ 3 h 46"/>
                  <a:gd name="T16" fmla="*/ 243 w 249"/>
                  <a:gd name="T17" fmla="*/ 5 h 46"/>
                  <a:gd name="T18" fmla="*/ 245 w 249"/>
                  <a:gd name="T19" fmla="*/ 9 h 46"/>
                  <a:gd name="T20" fmla="*/ 247 w 249"/>
                  <a:gd name="T21" fmla="*/ 13 h 46"/>
                  <a:gd name="T22" fmla="*/ 247 w 249"/>
                  <a:gd name="T23" fmla="*/ 17 h 46"/>
                  <a:gd name="T24" fmla="*/ 249 w 249"/>
                  <a:gd name="T25" fmla="*/ 19 h 46"/>
                  <a:gd name="T26" fmla="*/ 249 w 249"/>
                  <a:gd name="T27" fmla="*/ 21 h 46"/>
                  <a:gd name="T28" fmla="*/ 249 w 249"/>
                  <a:gd name="T29" fmla="*/ 21 h 46"/>
                  <a:gd name="T30" fmla="*/ 249 w 249"/>
                  <a:gd name="T31" fmla="*/ 26 h 46"/>
                  <a:gd name="T32" fmla="*/ 247 w 249"/>
                  <a:gd name="T33" fmla="*/ 32 h 46"/>
                  <a:gd name="T34" fmla="*/ 245 w 249"/>
                  <a:gd name="T35" fmla="*/ 36 h 46"/>
                  <a:gd name="T36" fmla="*/ 242 w 249"/>
                  <a:gd name="T37" fmla="*/ 40 h 46"/>
                  <a:gd name="T38" fmla="*/ 238 w 249"/>
                  <a:gd name="T39" fmla="*/ 42 h 46"/>
                  <a:gd name="T40" fmla="*/ 236 w 249"/>
                  <a:gd name="T41" fmla="*/ 44 h 46"/>
                  <a:gd name="T42" fmla="*/ 232 w 249"/>
                  <a:gd name="T43" fmla="*/ 44 h 46"/>
                  <a:gd name="T44" fmla="*/ 230 w 249"/>
                  <a:gd name="T45" fmla="*/ 46 h 46"/>
                  <a:gd name="T46" fmla="*/ 228 w 249"/>
                  <a:gd name="T47" fmla="*/ 46 h 46"/>
                  <a:gd name="T48" fmla="*/ 228 w 249"/>
                  <a:gd name="T49" fmla="*/ 46 h 46"/>
                  <a:gd name="T50" fmla="*/ 226 w 249"/>
                  <a:gd name="T51" fmla="*/ 46 h 46"/>
                  <a:gd name="T52" fmla="*/ 222 w 249"/>
                  <a:gd name="T53" fmla="*/ 46 h 46"/>
                  <a:gd name="T54" fmla="*/ 157 w 249"/>
                  <a:gd name="T55" fmla="*/ 46 h 46"/>
                  <a:gd name="T56" fmla="*/ 122 w 249"/>
                  <a:gd name="T57" fmla="*/ 46 h 46"/>
                  <a:gd name="T58" fmla="*/ 76 w 249"/>
                  <a:gd name="T59" fmla="*/ 46 h 46"/>
                  <a:gd name="T60" fmla="*/ 21 w 249"/>
                  <a:gd name="T61" fmla="*/ 46 h 46"/>
                  <a:gd name="T62" fmla="*/ 13 w 249"/>
                  <a:gd name="T63" fmla="*/ 44 h 46"/>
                  <a:gd name="T64" fmla="*/ 7 w 249"/>
                  <a:gd name="T65" fmla="*/ 42 h 46"/>
                  <a:gd name="T66" fmla="*/ 3 w 249"/>
                  <a:gd name="T67" fmla="*/ 38 h 46"/>
                  <a:gd name="T68" fmla="*/ 1 w 249"/>
                  <a:gd name="T69" fmla="*/ 36 h 46"/>
                  <a:gd name="T70" fmla="*/ 0 w 249"/>
                  <a:gd name="T71" fmla="*/ 32 h 46"/>
                  <a:gd name="T72" fmla="*/ 0 w 249"/>
                  <a:gd name="T73" fmla="*/ 28 h 46"/>
                  <a:gd name="T74" fmla="*/ 0 w 249"/>
                  <a:gd name="T75" fmla="*/ 26 h 46"/>
                  <a:gd name="T76" fmla="*/ 0 w 249"/>
                  <a:gd name="T77" fmla="*/ 26 h 46"/>
                  <a:gd name="T78" fmla="*/ 0 w 249"/>
                  <a:gd name="T79" fmla="*/ 26 h 46"/>
                  <a:gd name="T80" fmla="*/ 0 w 249"/>
                  <a:gd name="T81" fmla="*/ 24 h 46"/>
                  <a:gd name="T82" fmla="*/ 0 w 249"/>
                  <a:gd name="T83" fmla="*/ 21 h 46"/>
                  <a:gd name="T84" fmla="*/ 0 w 249"/>
                  <a:gd name="T85" fmla="*/ 15 h 46"/>
                  <a:gd name="T86" fmla="*/ 1 w 249"/>
                  <a:gd name="T87" fmla="*/ 11 h 46"/>
                  <a:gd name="T88" fmla="*/ 5 w 249"/>
                  <a:gd name="T89" fmla="*/ 7 h 46"/>
                  <a:gd name="T90" fmla="*/ 7 w 249"/>
                  <a:gd name="T91" fmla="*/ 3 h 46"/>
                  <a:gd name="T92" fmla="*/ 11 w 249"/>
                  <a:gd name="T93" fmla="*/ 1 h 46"/>
                  <a:gd name="T94" fmla="*/ 15 w 249"/>
                  <a:gd name="T95" fmla="*/ 1 h 46"/>
                  <a:gd name="T96" fmla="*/ 17 w 249"/>
                  <a:gd name="T97" fmla="*/ 1 h 46"/>
                  <a:gd name="T98" fmla="*/ 19 w 249"/>
                  <a:gd name="T99" fmla="*/ 0 h 46"/>
                  <a:gd name="T100" fmla="*/ 21 w 249"/>
                  <a:gd name="T101" fmla="*/ 0 h 46"/>
                  <a:gd name="T102" fmla="*/ 132 w 249"/>
                  <a:gd name="T103" fmla="*/ 0 h 46"/>
                  <a:gd name="T104" fmla="*/ 134 w 249"/>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9" h="46">
                    <a:moveTo>
                      <a:pt x="134" y="0"/>
                    </a:moveTo>
                    <a:lnTo>
                      <a:pt x="140" y="0"/>
                    </a:lnTo>
                    <a:lnTo>
                      <a:pt x="149" y="0"/>
                    </a:lnTo>
                    <a:lnTo>
                      <a:pt x="167" y="0"/>
                    </a:lnTo>
                    <a:lnTo>
                      <a:pt x="192" y="0"/>
                    </a:lnTo>
                    <a:lnTo>
                      <a:pt x="228" y="0"/>
                    </a:lnTo>
                    <a:lnTo>
                      <a:pt x="234" y="1"/>
                    </a:lnTo>
                    <a:lnTo>
                      <a:pt x="240" y="3"/>
                    </a:lnTo>
                    <a:lnTo>
                      <a:pt x="243" y="5"/>
                    </a:lnTo>
                    <a:lnTo>
                      <a:pt x="245" y="9"/>
                    </a:lnTo>
                    <a:lnTo>
                      <a:pt x="247" y="13"/>
                    </a:lnTo>
                    <a:lnTo>
                      <a:pt x="247" y="17"/>
                    </a:lnTo>
                    <a:lnTo>
                      <a:pt x="249" y="19"/>
                    </a:lnTo>
                    <a:lnTo>
                      <a:pt x="249" y="21"/>
                    </a:lnTo>
                    <a:lnTo>
                      <a:pt x="249" y="21"/>
                    </a:lnTo>
                    <a:lnTo>
                      <a:pt x="249" y="26"/>
                    </a:lnTo>
                    <a:lnTo>
                      <a:pt x="247" y="32"/>
                    </a:lnTo>
                    <a:lnTo>
                      <a:pt x="245" y="36"/>
                    </a:lnTo>
                    <a:lnTo>
                      <a:pt x="242" y="40"/>
                    </a:lnTo>
                    <a:lnTo>
                      <a:pt x="238" y="42"/>
                    </a:lnTo>
                    <a:lnTo>
                      <a:pt x="236" y="44"/>
                    </a:lnTo>
                    <a:lnTo>
                      <a:pt x="232" y="44"/>
                    </a:lnTo>
                    <a:lnTo>
                      <a:pt x="230" y="46"/>
                    </a:lnTo>
                    <a:lnTo>
                      <a:pt x="228" y="46"/>
                    </a:lnTo>
                    <a:lnTo>
                      <a:pt x="228" y="46"/>
                    </a:lnTo>
                    <a:lnTo>
                      <a:pt x="226" y="46"/>
                    </a:lnTo>
                    <a:lnTo>
                      <a:pt x="222" y="46"/>
                    </a:lnTo>
                    <a:lnTo>
                      <a:pt x="157" y="46"/>
                    </a:lnTo>
                    <a:lnTo>
                      <a:pt x="122" y="46"/>
                    </a:lnTo>
                    <a:lnTo>
                      <a:pt x="76" y="46"/>
                    </a:lnTo>
                    <a:lnTo>
                      <a:pt x="21" y="46"/>
                    </a:lnTo>
                    <a:lnTo>
                      <a:pt x="13" y="44"/>
                    </a:lnTo>
                    <a:lnTo>
                      <a:pt x="7" y="42"/>
                    </a:lnTo>
                    <a:lnTo>
                      <a:pt x="3" y="38"/>
                    </a:lnTo>
                    <a:lnTo>
                      <a:pt x="1" y="36"/>
                    </a:lnTo>
                    <a:lnTo>
                      <a:pt x="0" y="32"/>
                    </a:lnTo>
                    <a:lnTo>
                      <a:pt x="0" y="28"/>
                    </a:lnTo>
                    <a:lnTo>
                      <a:pt x="0" y="26"/>
                    </a:lnTo>
                    <a:lnTo>
                      <a:pt x="0" y="26"/>
                    </a:lnTo>
                    <a:lnTo>
                      <a:pt x="0" y="26"/>
                    </a:lnTo>
                    <a:lnTo>
                      <a:pt x="0" y="24"/>
                    </a:lnTo>
                    <a:lnTo>
                      <a:pt x="0" y="21"/>
                    </a:lnTo>
                    <a:lnTo>
                      <a:pt x="0" y="15"/>
                    </a:lnTo>
                    <a:lnTo>
                      <a:pt x="1" y="11"/>
                    </a:lnTo>
                    <a:lnTo>
                      <a:pt x="5" y="7"/>
                    </a:lnTo>
                    <a:lnTo>
                      <a:pt x="7" y="3"/>
                    </a:lnTo>
                    <a:lnTo>
                      <a:pt x="11" y="1"/>
                    </a:lnTo>
                    <a:lnTo>
                      <a:pt x="15" y="1"/>
                    </a:lnTo>
                    <a:lnTo>
                      <a:pt x="17" y="1"/>
                    </a:lnTo>
                    <a:lnTo>
                      <a:pt x="19" y="0"/>
                    </a:lnTo>
                    <a:lnTo>
                      <a:pt x="21" y="0"/>
                    </a:lnTo>
                    <a:lnTo>
                      <a:pt x="132" y="0"/>
                    </a:lnTo>
                    <a:lnTo>
                      <a:pt x="134" y="0"/>
                    </a:lnTo>
                    <a:close/>
                  </a:path>
                </a:pathLst>
              </a:custGeom>
              <a:solidFill>
                <a:srgbClr val="3F00E1"/>
              </a:solidFill>
              <a:ln w="0">
                <a:solidFill>
                  <a:srgbClr val="3F00E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4" name="Freeform 903"/>
              <p:cNvSpPr>
                <a:spLocks/>
              </p:cNvSpPr>
              <p:nvPr/>
            </p:nvSpPr>
            <p:spPr bwMode="auto">
              <a:xfrm>
                <a:off x="9274176" y="5334000"/>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5" name="Freeform 904"/>
              <p:cNvSpPr>
                <a:spLocks/>
              </p:cNvSpPr>
              <p:nvPr/>
            </p:nvSpPr>
            <p:spPr bwMode="auto">
              <a:xfrm>
                <a:off x="9274176" y="5459413"/>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1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1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1"/>
                    </a:lnTo>
                    <a:lnTo>
                      <a:pt x="23" y="17"/>
                    </a:lnTo>
                    <a:lnTo>
                      <a:pt x="19" y="21"/>
                    </a:lnTo>
                    <a:lnTo>
                      <a:pt x="16" y="23"/>
                    </a:lnTo>
                    <a:lnTo>
                      <a:pt x="12" y="23"/>
                    </a:lnTo>
                    <a:lnTo>
                      <a:pt x="6" y="23"/>
                    </a:lnTo>
                    <a:lnTo>
                      <a:pt x="2" y="21"/>
                    </a:lnTo>
                    <a:lnTo>
                      <a:pt x="0" y="17"/>
                    </a:lnTo>
                    <a:lnTo>
                      <a:pt x="0" y="11"/>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6" name="Freeform 905"/>
              <p:cNvSpPr>
                <a:spLocks/>
              </p:cNvSpPr>
              <p:nvPr/>
            </p:nvSpPr>
            <p:spPr bwMode="auto">
              <a:xfrm>
                <a:off x="9274176" y="5581650"/>
                <a:ext cx="36513" cy="39688"/>
              </a:xfrm>
              <a:custGeom>
                <a:avLst/>
                <a:gdLst>
                  <a:gd name="T0" fmla="*/ 12 w 23"/>
                  <a:gd name="T1" fmla="*/ 0 h 25"/>
                  <a:gd name="T2" fmla="*/ 16 w 23"/>
                  <a:gd name="T3" fmla="*/ 2 h 25"/>
                  <a:gd name="T4" fmla="*/ 19 w 23"/>
                  <a:gd name="T5" fmla="*/ 4 h 25"/>
                  <a:gd name="T6" fmla="*/ 23 w 23"/>
                  <a:gd name="T7" fmla="*/ 7 h 25"/>
                  <a:gd name="T8" fmla="*/ 23 w 23"/>
                  <a:gd name="T9" fmla="*/ 13 h 25"/>
                  <a:gd name="T10" fmla="*/ 23 w 23"/>
                  <a:gd name="T11" fmla="*/ 17 h 25"/>
                  <a:gd name="T12" fmla="*/ 19 w 23"/>
                  <a:gd name="T13" fmla="*/ 21 h 25"/>
                  <a:gd name="T14" fmla="*/ 16 w 23"/>
                  <a:gd name="T15" fmla="*/ 25 h 25"/>
                  <a:gd name="T16" fmla="*/ 12 w 23"/>
                  <a:gd name="T17" fmla="*/ 25 h 25"/>
                  <a:gd name="T18" fmla="*/ 6 w 23"/>
                  <a:gd name="T19" fmla="*/ 25 h 25"/>
                  <a:gd name="T20" fmla="*/ 2 w 23"/>
                  <a:gd name="T21" fmla="*/ 21 h 25"/>
                  <a:gd name="T22" fmla="*/ 0 w 23"/>
                  <a:gd name="T23" fmla="*/ 17 h 25"/>
                  <a:gd name="T24" fmla="*/ 0 w 23"/>
                  <a:gd name="T25" fmla="*/ 13 h 25"/>
                  <a:gd name="T26" fmla="*/ 0 w 23"/>
                  <a:gd name="T27" fmla="*/ 7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7"/>
                    </a:lnTo>
                    <a:lnTo>
                      <a:pt x="23" y="13"/>
                    </a:lnTo>
                    <a:lnTo>
                      <a:pt x="23" y="17"/>
                    </a:lnTo>
                    <a:lnTo>
                      <a:pt x="19" y="21"/>
                    </a:lnTo>
                    <a:lnTo>
                      <a:pt x="16" y="25"/>
                    </a:lnTo>
                    <a:lnTo>
                      <a:pt x="12" y="25"/>
                    </a:lnTo>
                    <a:lnTo>
                      <a:pt x="6" y="25"/>
                    </a:lnTo>
                    <a:lnTo>
                      <a:pt x="2" y="21"/>
                    </a:lnTo>
                    <a:lnTo>
                      <a:pt x="0" y="17"/>
                    </a:lnTo>
                    <a:lnTo>
                      <a:pt x="0" y="13"/>
                    </a:lnTo>
                    <a:lnTo>
                      <a:pt x="0" y="7"/>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7" name="Freeform 906"/>
              <p:cNvSpPr>
                <a:spLocks/>
              </p:cNvSpPr>
              <p:nvPr/>
            </p:nvSpPr>
            <p:spPr bwMode="auto">
              <a:xfrm>
                <a:off x="9274176" y="5705475"/>
                <a:ext cx="36513" cy="39688"/>
              </a:xfrm>
              <a:custGeom>
                <a:avLst/>
                <a:gdLst>
                  <a:gd name="T0" fmla="*/ 12 w 23"/>
                  <a:gd name="T1" fmla="*/ 0 h 25"/>
                  <a:gd name="T2" fmla="*/ 16 w 23"/>
                  <a:gd name="T3" fmla="*/ 2 h 25"/>
                  <a:gd name="T4" fmla="*/ 19 w 23"/>
                  <a:gd name="T5" fmla="*/ 4 h 25"/>
                  <a:gd name="T6" fmla="*/ 23 w 23"/>
                  <a:gd name="T7" fmla="*/ 8 h 25"/>
                  <a:gd name="T8" fmla="*/ 23 w 23"/>
                  <a:gd name="T9" fmla="*/ 14 h 25"/>
                  <a:gd name="T10" fmla="*/ 23 w 23"/>
                  <a:gd name="T11" fmla="*/ 18 h 25"/>
                  <a:gd name="T12" fmla="*/ 19 w 23"/>
                  <a:gd name="T13" fmla="*/ 21 h 25"/>
                  <a:gd name="T14" fmla="*/ 16 w 23"/>
                  <a:gd name="T15" fmla="*/ 23 h 25"/>
                  <a:gd name="T16" fmla="*/ 12 w 23"/>
                  <a:gd name="T17" fmla="*/ 25 h 25"/>
                  <a:gd name="T18" fmla="*/ 6 w 23"/>
                  <a:gd name="T19" fmla="*/ 23 h 25"/>
                  <a:gd name="T20" fmla="*/ 2 w 23"/>
                  <a:gd name="T21" fmla="*/ 21 h 25"/>
                  <a:gd name="T22" fmla="*/ 0 w 23"/>
                  <a:gd name="T23" fmla="*/ 18 h 25"/>
                  <a:gd name="T24" fmla="*/ 0 w 23"/>
                  <a:gd name="T25" fmla="*/ 14 h 25"/>
                  <a:gd name="T26" fmla="*/ 0 w 23"/>
                  <a:gd name="T27" fmla="*/ 8 h 25"/>
                  <a:gd name="T28" fmla="*/ 2 w 23"/>
                  <a:gd name="T29" fmla="*/ 4 h 25"/>
                  <a:gd name="T30" fmla="*/ 6 w 23"/>
                  <a:gd name="T31" fmla="*/ 2 h 25"/>
                  <a:gd name="T32" fmla="*/ 12 w 23"/>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12" y="0"/>
                    </a:moveTo>
                    <a:lnTo>
                      <a:pt x="16" y="2"/>
                    </a:lnTo>
                    <a:lnTo>
                      <a:pt x="19" y="4"/>
                    </a:lnTo>
                    <a:lnTo>
                      <a:pt x="23" y="8"/>
                    </a:lnTo>
                    <a:lnTo>
                      <a:pt x="23" y="14"/>
                    </a:lnTo>
                    <a:lnTo>
                      <a:pt x="23" y="18"/>
                    </a:lnTo>
                    <a:lnTo>
                      <a:pt x="19" y="21"/>
                    </a:lnTo>
                    <a:lnTo>
                      <a:pt x="16" y="23"/>
                    </a:lnTo>
                    <a:lnTo>
                      <a:pt x="12" y="25"/>
                    </a:lnTo>
                    <a:lnTo>
                      <a:pt x="6" y="23"/>
                    </a:lnTo>
                    <a:lnTo>
                      <a:pt x="2" y="21"/>
                    </a:lnTo>
                    <a:lnTo>
                      <a:pt x="0" y="18"/>
                    </a:lnTo>
                    <a:lnTo>
                      <a:pt x="0" y="14"/>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8" name="Freeform 907"/>
              <p:cNvSpPr>
                <a:spLocks/>
              </p:cNvSpPr>
              <p:nvPr/>
            </p:nvSpPr>
            <p:spPr bwMode="auto">
              <a:xfrm>
                <a:off x="9274176" y="5830888"/>
                <a:ext cx="36513" cy="36513"/>
              </a:xfrm>
              <a:custGeom>
                <a:avLst/>
                <a:gdLst>
                  <a:gd name="T0" fmla="*/ 12 w 23"/>
                  <a:gd name="T1" fmla="*/ 0 h 23"/>
                  <a:gd name="T2" fmla="*/ 16 w 23"/>
                  <a:gd name="T3" fmla="*/ 2 h 23"/>
                  <a:gd name="T4" fmla="*/ 19 w 23"/>
                  <a:gd name="T5" fmla="*/ 4 h 23"/>
                  <a:gd name="T6" fmla="*/ 23 w 23"/>
                  <a:gd name="T7" fmla="*/ 8 h 23"/>
                  <a:gd name="T8" fmla="*/ 23 w 23"/>
                  <a:gd name="T9" fmla="*/ 12 h 23"/>
                  <a:gd name="T10" fmla="*/ 23 w 23"/>
                  <a:gd name="T11" fmla="*/ 17 h 23"/>
                  <a:gd name="T12" fmla="*/ 19 w 23"/>
                  <a:gd name="T13" fmla="*/ 21 h 23"/>
                  <a:gd name="T14" fmla="*/ 16 w 23"/>
                  <a:gd name="T15" fmla="*/ 23 h 23"/>
                  <a:gd name="T16" fmla="*/ 12 w 23"/>
                  <a:gd name="T17" fmla="*/ 23 h 23"/>
                  <a:gd name="T18" fmla="*/ 6 w 23"/>
                  <a:gd name="T19" fmla="*/ 23 h 23"/>
                  <a:gd name="T20" fmla="*/ 2 w 23"/>
                  <a:gd name="T21" fmla="*/ 21 h 23"/>
                  <a:gd name="T22" fmla="*/ 0 w 23"/>
                  <a:gd name="T23" fmla="*/ 17 h 23"/>
                  <a:gd name="T24" fmla="*/ 0 w 23"/>
                  <a:gd name="T25" fmla="*/ 12 h 23"/>
                  <a:gd name="T26" fmla="*/ 0 w 23"/>
                  <a:gd name="T27" fmla="*/ 8 h 23"/>
                  <a:gd name="T28" fmla="*/ 2 w 23"/>
                  <a:gd name="T29" fmla="*/ 4 h 23"/>
                  <a:gd name="T30" fmla="*/ 6 w 23"/>
                  <a:gd name="T31" fmla="*/ 2 h 23"/>
                  <a:gd name="T32" fmla="*/ 12 w 23"/>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0"/>
                    </a:moveTo>
                    <a:lnTo>
                      <a:pt x="16" y="2"/>
                    </a:lnTo>
                    <a:lnTo>
                      <a:pt x="19" y="4"/>
                    </a:lnTo>
                    <a:lnTo>
                      <a:pt x="23" y="8"/>
                    </a:lnTo>
                    <a:lnTo>
                      <a:pt x="23" y="12"/>
                    </a:lnTo>
                    <a:lnTo>
                      <a:pt x="23" y="17"/>
                    </a:lnTo>
                    <a:lnTo>
                      <a:pt x="19" y="21"/>
                    </a:lnTo>
                    <a:lnTo>
                      <a:pt x="16" y="23"/>
                    </a:lnTo>
                    <a:lnTo>
                      <a:pt x="12" y="23"/>
                    </a:lnTo>
                    <a:lnTo>
                      <a:pt x="6" y="23"/>
                    </a:lnTo>
                    <a:lnTo>
                      <a:pt x="2" y="21"/>
                    </a:lnTo>
                    <a:lnTo>
                      <a:pt x="0" y="17"/>
                    </a:lnTo>
                    <a:lnTo>
                      <a:pt x="0" y="12"/>
                    </a:lnTo>
                    <a:lnTo>
                      <a:pt x="0" y="8"/>
                    </a:lnTo>
                    <a:lnTo>
                      <a:pt x="2" y="4"/>
                    </a:lnTo>
                    <a:lnTo>
                      <a:pt x="6" y="2"/>
                    </a:lnTo>
                    <a:lnTo>
                      <a:pt x="1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89" name="Freeform 908"/>
              <p:cNvSpPr>
                <a:spLocks/>
              </p:cNvSpPr>
              <p:nvPr/>
            </p:nvSpPr>
            <p:spPr bwMode="auto">
              <a:xfrm>
                <a:off x="8993188" y="6076950"/>
                <a:ext cx="234950" cy="201613"/>
              </a:xfrm>
              <a:custGeom>
                <a:avLst/>
                <a:gdLst>
                  <a:gd name="T0" fmla="*/ 0 w 148"/>
                  <a:gd name="T1" fmla="*/ 0 h 127"/>
                  <a:gd name="T2" fmla="*/ 148 w 148"/>
                  <a:gd name="T3" fmla="*/ 0 h 127"/>
                  <a:gd name="T4" fmla="*/ 0 w 148"/>
                  <a:gd name="T5" fmla="*/ 127 h 127"/>
                  <a:gd name="T6" fmla="*/ 0 w 148"/>
                  <a:gd name="T7" fmla="*/ 0 h 127"/>
                </a:gdLst>
                <a:ahLst/>
                <a:cxnLst>
                  <a:cxn ang="0">
                    <a:pos x="T0" y="T1"/>
                  </a:cxn>
                  <a:cxn ang="0">
                    <a:pos x="T2" y="T3"/>
                  </a:cxn>
                  <a:cxn ang="0">
                    <a:pos x="T4" y="T5"/>
                  </a:cxn>
                  <a:cxn ang="0">
                    <a:pos x="T6" y="T7"/>
                  </a:cxn>
                </a:cxnLst>
                <a:rect l="0" t="0" r="r" b="b"/>
                <a:pathLst>
                  <a:path w="148" h="127">
                    <a:moveTo>
                      <a:pt x="0" y="0"/>
                    </a:moveTo>
                    <a:lnTo>
                      <a:pt x="148" y="0"/>
                    </a:lnTo>
                    <a:lnTo>
                      <a:pt x="0" y="127"/>
                    </a:lnTo>
                    <a:lnTo>
                      <a:pt x="0" y="0"/>
                    </a:lnTo>
                    <a:close/>
                  </a:path>
                </a:pathLst>
              </a:custGeom>
              <a:solidFill>
                <a:srgbClr val="00080C"/>
              </a:solidFill>
              <a:ln w="0">
                <a:solidFill>
                  <a:srgbClr val="00080C"/>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0" name="Freeform 909"/>
              <p:cNvSpPr>
                <a:spLocks/>
              </p:cNvSpPr>
              <p:nvPr/>
            </p:nvSpPr>
            <p:spPr bwMode="auto">
              <a:xfrm>
                <a:off x="8521701" y="5422900"/>
                <a:ext cx="496888" cy="855663"/>
              </a:xfrm>
              <a:custGeom>
                <a:avLst/>
                <a:gdLst>
                  <a:gd name="T0" fmla="*/ 17 w 313"/>
                  <a:gd name="T1" fmla="*/ 0 h 539"/>
                  <a:gd name="T2" fmla="*/ 292 w 313"/>
                  <a:gd name="T3" fmla="*/ 0 h 539"/>
                  <a:gd name="T4" fmla="*/ 297 w 313"/>
                  <a:gd name="T5" fmla="*/ 2 h 539"/>
                  <a:gd name="T6" fmla="*/ 303 w 313"/>
                  <a:gd name="T7" fmla="*/ 4 h 539"/>
                  <a:gd name="T8" fmla="*/ 309 w 313"/>
                  <a:gd name="T9" fmla="*/ 9 h 539"/>
                  <a:gd name="T10" fmla="*/ 311 w 313"/>
                  <a:gd name="T11" fmla="*/ 15 h 539"/>
                  <a:gd name="T12" fmla="*/ 313 w 313"/>
                  <a:gd name="T13" fmla="*/ 21 h 539"/>
                  <a:gd name="T14" fmla="*/ 313 w 313"/>
                  <a:gd name="T15" fmla="*/ 205 h 539"/>
                  <a:gd name="T16" fmla="*/ 313 w 313"/>
                  <a:gd name="T17" fmla="*/ 276 h 539"/>
                  <a:gd name="T18" fmla="*/ 313 w 313"/>
                  <a:gd name="T19" fmla="*/ 338 h 539"/>
                  <a:gd name="T20" fmla="*/ 313 w 313"/>
                  <a:gd name="T21" fmla="*/ 386 h 539"/>
                  <a:gd name="T22" fmla="*/ 313 w 313"/>
                  <a:gd name="T23" fmla="*/ 457 h 539"/>
                  <a:gd name="T24" fmla="*/ 313 w 313"/>
                  <a:gd name="T25" fmla="*/ 480 h 539"/>
                  <a:gd name="T26" fmla="*/ 313 w 313"/>
                  <a:gd name="T27" fmla="*/ 495 h 539"/>
                  <a:gd name="T28" fmla="*/ 313 w 313"/>
                  <a:gd name="T29" fmla="*/ 506 h 539"/>
                  <a:gd name="T30" fmla="*/ 313 w 313"/>
                  <a:gd name="T31" fmla="*/ 512 h 539"/>
                  <a:gd name="T32" fmla="*/ 313 w 313"/>
                  <a:gd name="T33" fmla="*/ 518 h 539"/>
                  <a:gd name="T34" fmla="*/ 311 w 313"/>
                  <a:gd name="T35" fmla="*/ 526 h 539"/>
                  <a:gd name="T36" fmla="*/ 309 w 313"/>
                  <a:gd name="T37" fmla="*/ 531 h 539"/>
                  <a:gd name="T38" fmla="*/ 303 w 313"/>
                  <a:gd name="T39" fmla="*/ 535 h 539"/>
                  <a:gd name="T40" fmla="*/ 297 w 313"/>
                  <a:gd name="T41" fmla="*/ 539 h 539"/>
                  <a:gd name="T42" fmla="*/ 292 w 313"/>
                  <a:gd name="T43" fmla="*/ 539 h 539"/>
                  <a:gd name="T44" fmla="*/ 167 w 313"/>
                  <a:gd name="T45" fmla="*/ 539 h 539"/>
                  <a:gd name="T46" fmla="*/ 123 w 313"/>
                  <a:gd name="T47" fmla="*/ 539 h 539"/>
                  <a:gd name="T48" fmla="*/ 88 w 313"/>
                  <a:gd name="T49" fmla="*/ 539 h 539"/>
                  <a:gd name="T50" fmla="*/ 19 w 313"/>
                  <a:gd name="T51" fmla="*/ 539 h 539"/>
                  <a:gd name="T52" fmla="*/ 19 w 313"/>
                  <a:gd name="T53" fmla="*/ 539 h 539"/>
                  <a:gd name="T54" fmla="*/ 17 w 313"/>
                  <a:gd name="T55" fmla="*/ 539 h 539"/>
                  <a:gd name="T56" fmla="*/ 13 w 313"/>
                  <a:gd name="T57" fmla="*/ 539 h 539"/>
                  <a:gd name="T58" fmla="*/ 7 w 313"/>
                  <a:gd name="T59" fmla="*/ 535 h 539"/>
                  <a:gd name="T60" fmla="*/ 4 w 313"/>
                  <a:gd name="T61" fmla="*/ 531 h 539"/>
                  <a:gd name="T62" fmla="*/ 0 w 313"/>
                  <a:gd name="T63" fmla="*/ 526 h 539"/>
                  <a:gd name="T64" fmla="*/ 0 w 313"/>
                  <a:gd name="T65" fmla="*/ 518 h 539"/>
                  <a:gd name="T66" fmla="*/ 0 w 313"/>
                  <a:gd name="T67" fmla="*/ 21 h 539"/>
                  <a:gd name="T68" fmla="*/ 0 w 313"/>
                  <a:gd name="T69" fmla="*/ 15 h 539"/>
                  <a:gd name="T70" fmla="*/ 4 w 313"/>
                  <a:gd name="T71" fmla="*/ 9 h 539"/>
                  <a:gd name="T72" fmla="*/ 7 w 313"/>
                  <a:gd name="T73" fmla="*/ 4 h 539"/>
                  <a:gd name="T74" fmla="*/ 13 w 313"/>
                  <a:gd name="T75" fmla="*/ 2 h 539"/>
                  <a:gd name="T76" fmla="*/ 17 w 313"/>
                  <a:gd name="T7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3" h="539">
                    <a:moveTo>
                      <a:pt x="17" y="0"/>
                    </a:moveTo>
                    <a:lnTo>
                      <a:pt x="292" y="0"/>
                    </a:lnTo>
                    <a:lnTo>
                      <a:pt x="297" y="2"/>
                    </a:lnTo>
                    <a:lnTo>
                      <a:pt x="303" y="4"/>
                    </a:lnTo>
                    <a:lnTo>
                      <a:pt x="309" y="9"/>
                    </a:lnTo>
                    <a:lnTo>
                      <a:pt x="311" y="15"/>
                    </a:lnTo>
                    <a:lnTo>
                      <a:pt x="313" y="21"/>
                    </a:lnTo>
                    <a:lnTo>
                      <a:pt x="313" y="205"/>
                    </a:lnTo>
                    <a:lnTo>
                      <a:pt x="313" y="276"/>
                    </a:lnTo>
                    <a:lnTo>
                      <a:pt x="313" y="338"/>
                    </a:lnTo>
                    <a:lnTo>
                      <a:pt x="313" y="386"/>
                    </a:lnTo>
                    <a:lnTo>
                      <a:pt x="313" y="457"/>
                    </a:lnTo>
                    <a:lnTo>
                      <a:pt x="313" y="480"/>
                    </a:lnTo>
                    <a:lnTo>
                      <a:pt x="313" y="495"/>
                    </a:lnTo>
                    <a:lnTo>
                      <a:pt x="313" y="506"/>
                    </a:lnTo>
                    <a:lnTo>
                      <a:pt x="313" y="512"/>
                    </a:lnTo>
                    <a:lnTo>
                      <a:pt x="313" y="518"/>
                    </a:lnTo>
                    <a:lnTo>
                      <a:pt x="311" y="526"/>
                    </a:lnTo>
                    <a:lnTo>
                      <a:pt x="309" y="531"/>
                    </a:lnTo>
                    <a:lnTo>
                      <a:pt x="303" y="535"/>
                    </a:lnTo>
                    <a:lnTo>
                      <a:pt x="297" y="539"/>
                    </a:lnTo>
                    <a:lnTo>
                      <a:pt x="292" y="539"/>
                    </a:lnTo>
                    <a:lnTo>
                      <a:pt x="167" y="539"/>
                    </a:lnTo>
                    <a:lnTo>
                      <a:pt x="123" y="539"/>
                    </a:lnTo>
                    <a:lnTo>
                      <a:pt x="88" y="539"/>
                    </a:lnTo>
                    <a:lnTo>
                      <a:pt x="19" y="539"/>
                    </a:lnTo>
                    <a:lnTo>
                      <a:pt x="19" y="539"/>
                    </a:lnTo>
                    <a:lnTo>
                      <a:pt x="17" y="539"/>
                    </a:lnTo>
                    <a:lnTo>
                      <a:pt x="13" y="539"/>
                    </a:lnTo>
                    <a:lnTo>
                      <a:pt x="7" y="535"/>
                    </a:lnTo>
                    <a:lnTo>
                      <a:pt x="4" y="531"/>
                    </a:lnTo>
                    <a:lnTo>
                      <a:pt x="0" y="526"/>
                    </a:lnTo>
                    <a:lnTo>
                      <a:pt x="0" y="518"/>
                    </a:lnTo>
                    <a:lnTo>
                      <a:pt x="0" y="21"/>
                    </a:lnTo>
                    <a:lnTo>
                      <a:pt x="0" y="15"/>
                    </a:lnTo>
                    <a:lnTo>
                      <a:pt x="4" y="9"/>
                    </a:lnTo>
                    <a:lnTo>
                      <a:pt x="7" y="4"/>
                    </a:lnTo>
                    <a:lnTo>
                      <a:pt x="13" y="2"/>
                    </a:lnTo>
                    <a:lnTo>
                      <a:pt x="17" y="0"/>
                    </a:lnTo>
                    <a:close/>
                  </a:path>
                </a:pathLst>
              </a:custGeom>
              <a:solidFill>
                <a:srgbClr val="FF0821"/>
              </a:solidFill>
              <a:ln w="0">
                <a:solidFill>
                  <a:srgbClr val="FF0821"/>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1" name="Rectangle 910"/>
              <p:cNvSpPr>
                <a:spLocks noChangeArrowheads="1"/>
              </p:cNvSpPr>
              <p:nvPr/>
            </p:nvSpPr>
            <p:spPr bwMode="auto">
              <a:xfrm>
                <a:off x="8564563" y="5472113"/>
                <a:ext cx="404813" cy="673100"/>
              </a:xfrm>
              <a:prstGeom prst="rect">
                <a:avLst/>
              </a:prstGeom>
              <a:solidFill>
                <a:srgbClr val="C9D8D5"/>
              </a:solidFill>
              <a:ln w="0">
                <a:solidFill>
                  <a:srgbClr val="C9D8D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sp>
            <p:nvSpPr>
              <p:cNvPr id="92" name="Freeform 911"/>
              <p:cNvSpPr>
                <a:spLocks/>
              </p:cNvSpPr>
              <p:nvPr/>
            </p:nvSpPr>
            <p:spPr bwMode="auto">
              <a:xfrm>
                <a:off x="7945438" y="5883275"/>
                <a:ext cx="1057275" cy="690563"/>
              </a:xfrm>
              <a:custGeom>
                <a:avLst/>
                <a:gdLst>
                  <a:gd name="T0" fmla="*/ 290 w 666"/>
                  <a:gd name="T1" fmla="*/ 0 h 435"/>
                  <a:gd name="T2" fmla="*/ 336 w 666"/>
                  <a:gd name="T3" fmla="*/ 5 h 435"/>
                  <a:gd name="T4" fmla="*/ 376 w 666"/>
                  <a:gd name="T5" fmla="*/ 21 h 435"/>
                  <a:gd name="T6" fmla="*/ 413 w 666"/>
                  <a:gd name="T7" fmla="*/ 48 h 435"/>
                  <a:gd name="T8" fmla="*/ 441 w 666"/>
                  <a:gd name="T9" fmla="*/ 80 h 435"/>
                  <a:gd name="T10" fmla="*/ 466 w 666"/>
                  <a:gd name="T11" fmla="*/ 71 h 435"/>
                  <a:gd name="T12" fmla="*/ 491 w 666"/>
                  <a:gd name="T13" fmla="*/ 67 h 435"/>
                  <a:gd name="T14" fmla="*/ 522 w 666"/>
                  <a:gd name="T15" fmla="*/ 73 h 435"/>
                  <a:gd name="T16" fmla="*/ 551 w 666"/>
                  <a:gd name="T17" fmla="*/ 84 h 435"/>
                  <a:gd name="T18" fmla="*/ 570 w 666"/>
                  <a:gd name="T19" fmla="*/ 101 h 435"/>
                  <a:gd name="T20" fmla="*/ 586 w 666"/>
                  <a:gd name="T21" fmla="*/ 121 h 435"/>
                  <a:gd name="T22" fmla="*/ 595 w 666"/>
                  <a:gd name="T23" fmla="*/ 144 h 435"/>
                  <a:gd name="T24" fmla="*/ 599 w 666"/>
                  <a:gd name="T25" fmla="*/ 170 h 435"/>
                  <a:gd name="T26" fmla="*/ 626 w 666"/>
                  <a:gd name="T27" fmla="*/ 193 h 435"/>
                  <a:gd name="T28" fmla="*/ 647 w 666"/>
                  <a:gd name="T29" fmla="*/ 222 h 435"/>
                  <a:gd name="T30" fmla="*/ 660 w 666"/>
                  <a:gd name="T31" fmla="*/ 255 h 435"/>
                  <a:gd name="T32" fmla="*/ 666 w 666"/>
                  <a:gd name="T33" fmla="*/ 291 h 435"/>
                  <a:gd name="T34" fmla="*/ 660 w 666"/>
                  <a:gd name="T35" fmla="*/ 328 h 435"/>
                  <a:gd name="T36" fmla="*/ 647 w 666"/>
                  <a:gd name="T37" fmla="*/ 360 h 435"/>
                  <a:gd name="T38" fmla="*/ 628 w 666"/>
                  <a:gd name="T39" fmla="*/ 387 h 435"/>
                  <a:gd name="T40" fmla="*/ 601 w 666"/>
                  <a:gd name="T41" fmla="*/ 410 h 435"/>
                  <a:gd name="T42" fmla="*/ 570 w 666"/>
                  <a:gd name="T43" fmla="*/ 428 h 435"/>
                  <a:gd name="T44" fmla="*/ 536 w 666"/>
                  <a:gd name="T45" fmla="*/ 435 h 435"/>
                  <a:gd name="T46" fmla="*/ 465 w 666"/>
                  <a:gd name="T47" fmla="*/ 435 h 435"/>
                  <a:gd name="T48" fmla="*/ 415 w 666"/>
                  <a:gd name="T49" fmla="*/ 435 h 435"/>
                  <a:gd name="T50" fmla="*/ 359 w 666"/>
                  <a:gd name="T51" fmla="*/ 435 h 435"/>
                  <a:gd name="T52" fmla="*/ 123 w 666"/>
                  <a:gd name="T53" fmla="*/ 435 h 435"/>
                  <a:gd name="T54" fmla="*/ 90 w 666"/>
                  <a:gd name="T55" fmla="*/ 429 h 435"/>
                  <a:gd name="T56" fmla="*/ 61 w 666"/>
                  <a:gd name="T57" fmla="*/ 418 h 435"/>
                  <a:gd name="T58" fmla="*/ 36 w 666"/>
                  <a:gd name="T59" fmla="*/ 399 h 435"/>
                  <a:gd name="T60" fmla="*/ 17 w 666"/>
                  <a:gd name="T61" fmla="*/ 374 h 435"/>
                  <a:gd name="T62" fmla="*/ 4 w 666"/>
                  <a:gd name="T63" fmla="*/ 343 h 435"/>
                  <a:gd name="T64" fmla="*/ 0 w 666"/>
                  <a:gd name="T65" fmla="*/ 310 h 435"/>
                  <a:gd name="T66" fmla="*/ 6 w 666"/>
                  <a:gd name="T67" fmla="*/ 276 h 435"/>
                  <a:gd name="T68" fmla="*/ 21 w 666"/>
                  <a:gd name="T69" fmla="*/ 245 h 435"/>
                  <a:gd name="T70" fmla="*/ 44 w 666"/>
                  <a:gd name="T71" fmla="*/ 218 h 435"/>
                  <a:gd name="T72" fmla="*/ 73 w 666"/>
                  <a:gd name="T73" fmla="*/ 201 h 435"/>
                  <a:gd name="T74" fmla="*/ 107 w 666"/>
                  <a:gd name="T75" fmla="*/ 190 h 435"/>
                  <a:gd name="T76" fmla="*/ 107 w 666"/>
                  <a:gd name="T77" fmla="*/ 182 h 435"/>
                  <a:gd name="T78" fmla="*/ 111 w 666"/>
                  <a:gd name="T79" fmla="*/ 140 h 435"/>
                  <a:gd name="T80" fmla="*/ 125 w 666"/>
                  <a:gd name="T81" fmla="*/ 101 h 435"/>
                  <a:gd name="T82" fmla="*/ 148 w 666"/>
                  <a:gd name="T83" fmla="*/ 67 h 435"/>
                  <a:gd name="T84" fmla="*/ 175 w 666"/>
                  <a:gd name="T85" fmla="*/ 40 h 435"/>
                  <a:gd name="T86" fmla="*/ 209 w 666"/>
                  <a:gd name="T87" fmla="*/ 19 h 435"/>
                  <a:gd name="T88" fmla="*/ 248 w 666"/>
                  <a:gd name="T89" fmla="*/ 3 h 435"/>
                  <a:gd name="T90" fmla="*/ 290 w 666"/>
                  <a:gd name="T9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6" h="435">
                    <a:moveTo>
                      <a:pt x="290" y="0"/>
                    </a:moveTo>
                    <a:lnTo>
                      <a:pt x="336" y="5"/>
                    </a:lnTo>
                    <a:lnTo>
                      <a:pt x="376" y="21"/>
                    </a:lnTo>
                    <a:lnTo>
                      <a:pt x="413" y="48"/>
                    </a:lnTo>
                    <a:lnTo>
                      <a:pt x="441" y="80"/>
                    </a:lnTo>
                    <a:lnTo>
                      <a:pt x="466" y="71"/>
                    </a:lnTo>
                    <a:lnTo>
                      <a:pt x="491" y="67"/>
                    </a:lnTo>
                    <a:lnTo>
                      <a:pt x="522" y="73"/>
                    </a:lnTo>
                    <a:lnTo>
                      <a:pt x="551" y="84"/>
                    </a:lnTo>
                    <a:lnTo>
                      <a:pt x="570" y="101"/>
                    </a:lnTo>
                    <a:lnTo>
                      <a:pt x="586" y="121"/>
                    </a:lnTo>
                    <a:lnTo>
                      <a:pt x="595" y="144"/>
                    </a:lnTo>
                    <a:lnTo>
                      <a:pt x="599" y="170"/>
                    </a:lnTo>
                    <a:lnTo>
                      <a:pt x="626" y="193"/>
                    </a:lnTo>
                    <a:lnTo>
                      <a:pt x="647" y="222"/>
                    </a:lnTo>
                    <a:lnTo>
                      <a:pt x="660" y="255"/>
                    </a:lnTo>
                    <a:lnTo>
                      <a:pt x="666" y="291"/>
                    </a:lnTo>
                    <a:lnTo>
                      <a:pt x="660" y="328"/>
                    </a:lnTo>
                    <a:lnTo>
                      <a:pt x="647" y="360"/>
                    </a:lnTo>
                    <a:lnTo>
                      <a:pt x="628" y="387"/>
                    </a:lnTo>
                    <a:lnTo>
                      <a:pt x="601" y="410"/>
                    </a:lnTo>
                    <a:lnTo>
                      <a:pt x="570" y="428"/>
                    </a:lnTo>
                    <a:lnTo>
                      <a:pt x="536" y="435"/>
                    </a:lnTo>
                    <a:lnTo>
                      <a:pt x="465" y="435"/>
                    </a:lnTo>
                    <a:lnTo>
                      <a:pt x="415" y="435"/>
                    </a:lnTo>
                    <a:lnTo>
                      <a:pt x="359" y="435"/>
                    </a:lnTo>
                    <a:lnTo>
                      <a:pt x="123" y="435"/>
                    </a:lnTo>
                    <a:lnTo>
                      <a:pt x="90" y="429"/>
                    </a:lnTo>
                    <a:lnTo>
                      <a:pt x="61" y="418"/>
                    </a:lnTo>
                    <a:lnTo>
                      <a:pt x="36" y="399"/>
                    </a:lnTo>
                    <a:lnTo>
                      <a:pt x="17" y="374"/>
                    </a:lnTo>
                    <a:lnTo>
                      <a:pt x="4" y="343"/>
                    </a:lnTo>
                    <a:lnTo>
                      <a:pt x="0" y="310"/>
                    </a:lnTo>
                    <a:lnTo>
                      <a:pt x="6" y="276"/>
                    </a:lnTo>
                    <a:lnTo>
                      <a:pt x="21" y="245"/>
                    </a:lnTo>
                    <a:lnTo>
                      <a:pt x="44" y="218"/>
                    </a:lnTo>
                    <a:lnTo>
                      <a:pt x="73" y="201"/>
                    </a:lnTo>
                    <a:lnTo>
                      <a:pt x="107" y="190"/>
                    </a:lnTo>
                    <a:lnTo>
                      <a:pt x="107" y="182"/>
                    </a:lnTo>
                    <a:lnTo>
                      <a:pt x="111" y="140"/>
                    </a:lnTo>
                    <a:lnTo>
                      <a:pt x="125" y="101"/>
                    </a:lnTo>
                    <a:lnTo>
                      <a:pt x="148" y="67"/>
                    </a:lnTo>
                    <a:lnTo>
                      <a:pt x="175" y="40"/>
                    </a:lnTo>
                    <a:lnTo>
                      <a:pt x="209" y="19"/>
                    </a:lnTo>
                    <a:lnTo>
                      <a:pt x="248" y="3"/>
                    </a:lnTo>
                    <a:lnTo>
                      <a:pt x="290" y="0"/>
                    </a:lnTo>
                    <a:close/>
                  </a:path>
                </a:pathLst>
              </a:custGeom>
              <a:solidFill>
                <a:srgbClr val="2780FF"/>
              </a:solidFill>
              <a:ln w="0">
                <a:solidFill>
                  <a:srgbClr val="2780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3" name="Freeform 912"/>
              <p:cNvSpPr>
                <a:spLocks/>
              </p:cNvSpPr>
              <p:nvPr/>
            </p:nvSpPr>
            <p:spPr bwMode="auto">
              <a:xfrm>
                <a:off x="8051801" y="5761038"/>
                <a:ext cx="439738" cy="285750"/>
              </a:xfrm>
              <a:custGeom>
                <a:avLst/>
                <a:gdLst>
                  <a:gd name="T0" fmla="*/ 121 w 277"/>
                  <a:gd name="T1" fmla="*/ 0 h 180"/>
                  <a:gd name="T2" fmla="*/ 146 w 277"/>
                  <a:gd name="T3" fmla="*/ 4 h 180"/>
                  <a:gd name="T4" fmla="*/ 167 w 277"/>
                  <a:gd name="T5" fmla="*/ 15 h 180"/>
                  <a:gd name="T6" fmla="*/ 184 w 277"/>
                  <a:gd name="T7" fmla="*/ 33 h 180"/>
                  <a:gd name="T8" fmla="*/ 190 w 277"/>
                  <a:gd name="T9" fmla="*/ 29 h 180"/>
                  <a:gd name="T10" fmla="*/ 198 w 277"/>
                  <a:gd name="T11" fmla="*/ 27 h 180"/>
                  <a:gd name="T12" fmla="*/ 205 w 277"/>
                  <a:gd name="T13" fmla="*/ 25 h 180"/>
                  <a:gd name="T14" fmla="*/ 215 w 277"/>
                  <a:gd name="T15" fmla="*/ 27 h 180"/>
                  <a:gd name="T16" fmla="*/ 223 w 277"/>
                  <a:gd name="T17" fmla="*/ 31 h 180"/>
                  <a:gd name="T18" fmla="*/ 230 w 277"/>
                  <a:gd name="T19" fmla="*/ 34 h 180"/>
                  <a:gd name="T20" fmla="*/ 240 w 277"/>
                  <a:gd name="T21" fmla="*/ 44 h 180"/>
                  <a:gd name="T22" fmla="*/ 248 w 277"/>
                  <a:gd name="T23" fmla="*/ 56 h 180"/>
                  <a:gd name="T24" fmla="*/ 250 w 277"/>
                  <a:gd name="T25" fmla="*/ 71 h 180"/>
                  <a:gd name="T26" fmla="*/ 265 w 277"/>
                  <a:gd name="T27" fmla="*/ 82 h 180"/>
                  <a:gd name="T28" fmla="*/ 275 w 277"/>
                  <a:gd name="T29" fmla="*/ 100 h 180"/>
                  <a:gd name="T30" fmla="*/ 277 w 277"/>
                  <a:gd name="T31" fmla="*/ 119 h 180"/>
                  <a:gd name="T32" fmla="*/ 273 w 277"/>
                  <a:gd name="T33" fmla="*/ 142 h 180"/>
                  <a:gd name="T34" fmla="*/ 261 w 277"/>
                  <a:gd name="T35" fmla="*/ 159 h 180"/>
                  <a:gd name="T36" fmla="*/ 244 w 277"/>
                  <a:gd name="T37" fmla="*/ 173 h 180"/>
                  <a:gd name="T38" fmla="*/ 225 w 277"/>
                  <a:gd name="T39" fmla="*/ 180 h 180"/>
                  <a:gd name="T40" fmla="*/ 54 w 277"/>
                  <a:gd name="T41" fmla="*/ 180 h 180"/>
                  <a:gd name="T42" fmla="*/ 52 w 277"/>
                  <a:gd name="T43" fmla="*/ 180 h 180"/>
                  <a:gd name="T44" fmla="*/ 52 w 277"/>
                  <a:gd name="T45" fmla="*/ 180 h 180"/>
                  <a:gd name="T46" fmla="*/ 33 w 277"/>
                  <a:gd name="T47" fmla="*/ 176 h 180"/>
                  <a:gd name="T48" fmla="*/ 15 w 277"/>
                  <a:gd name="T49" fmla="*/ 165 h 180"/>
                  <a:gd name="T50" fmla="*/ 4 w 277"/>
                  <a:gd name="T51" fmla="*/ 148 h 180"/>
                  <a:gd name="T52" fmla="*/ 0 w 277"/>
                  <a:gd name="T53" fmla="*/ 128 h 180"/>
                  <a:gd name="T54" fmla="*/ 4 w 277"/>
                  <a:gd name="T55" fmla="*/ 109 h 180"/>
                  <a:gd name="T56" fmla="*/ 13 w 277"/>
                  <a:gd name="T57" fmla="*/ 94 h 180"/>
                  <a:gd name="T58" fmla="*/ 27 w 277"/>
                  <a:gd name="T59" fmla="*/ 82 h 180"/>
                  <a:gd name="T60" fmla="*/ 46 w 277"/>
                  <a:gd name="T61" fmla="*/ 77 h 180"/>
                  <a:gd name="T62" fmla="*/ 46 w 277"/>
                  <a:gd name="T63" fmla="*/ 75 h 180"/>
                  <a:gd name="T64" fmla="*/ 50 w 277"/>
                  <a:gd name="T65" fmla="*/ 50 h 180"/>
                  <a:gd name="T66" fmla="*/ 60 w 277"/>
                  <a:gd name="T67" fmla="*/ 31 h 180"/>
                  <a:gd name="T68" fmla="*/ 77 w 277"/>
                  <a:gd name="T69" fmla="*/ 13 h 180"/>
                  <a:gd name="T70" fmla="*/ 98 w 277"/>
                  <a:gd name="T71" fmla="*/ 4 h 180"/>
                  <a:gd name="T72" fmla="*/ 121 w 277"/>
                  <a:gd name="T7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180">
                    <a:moveTo>
                      <a:pt x="121" y="0"/>
                    </a:moveTo>
                    <a:lnTo>
                      <a:pt x="146" y="4"/>
                    </a:lnTo>
                    <a:lnTo>
                      <a:pt x="167" y="15"/>
                    </a:lnTo>
                    <a:lnTo>
                      <a:pt x="184" y="33"/>
                    </a:lnTo>
                    <a:lnTo>
                      <a:pt x="190" y="29"/>
                    </a:lnTo>
                    <a:lnTo>
                      <a:pt x="198" y="27"/>
                    </a:lnTo>
                    <a:lnTo>
                      <a:pt x="205" y="25"/>
                    </a:lnTo>
                    <a:lnTo>
                      <a:pt x="215" y="27"/>
                    </a:lnTo>
                    <a:lnTo>
                      <a:pt x="223" y="31"/>
                    </a:lnTo>
                    <a:lnTo>
                      <a:pt x="230" y="34"/>
                    </a:lnTo>
                    <a:lnTo>
                      <a:pt x="240" y="44"/>
                    </a:lnTo>
                    <a:lnTo>
                      <a:pt x="248" y="56"/>
                    </a:lnTo>
                    <a:lnTo>
                      <a:pt x="250" y="71"/>
                    </a:lnTo>
                    <a:lnTo>
                      <a:pt x="265" y="82"/>
                    </a:lnTo>
                    <a:lnTo>
                      <a:pt x="275" y="100"/>
                    </a:lnTo>
                    <a:lnTo>
                      <a:pt x="277" y="119"/>
                    </a:lnTo>
                    <a:lnTo>
                      <a:pt x="273" y="142"/>
                    </a:lnTo>
                    <a:lnTo>
                      <a:pt x="261" y="159"/>
                    </a:lnTo>
                    <a:lnTo>
                      <a:pt x="244" y="173"/>
                    </a:lnTo>
                    <a:lnTo>
                      <a:pt x="225" y="180"/>
                    </a:lnTo>
                    <a:lnTo>
                      <a:pt x="54" y="180"/>
                    </a:lnTo>
                    <a:lnTo>
                      <a:pt x="52" y="180"/>
                    </a:lnTo>
                    <a:lnTo>
                      <a:pt x="52" y="180"/>
                    </a:lnTo>
                    <a:lnTo>
                      <a:pt x="33" y="176"/>
                    </a:lnTo>
                    <a:lnTo>
                      <a:pt x="15" y="165"/>
                    </a:lnTo>
                    <a:lnTo>
                      <a:pt x="4" y="148"/>
                    </a:lnTo>
                    <a:lnTo>
                      <a:pt x="0" y="128"/>
                    </a:lnTo>
                    <a:lnTo>
                      <a:pt x="4" y="109"/>
                    </a:lnTo>
                    <a:lnTo>
                      <a:pt x="13" y="94"/>
                    </a:lnTo>
                    <a:lnTo>
                      <a:pt x="27" y="82"/>
                    </a:lnTo>
                    <a:lnTo>
                      <a:pt x="46" y="77"/>
                    </a:lnTo>
                    <a:lnTo>
                      <a:pt x="46" y="75"/>
                    </a:lnTo>
                    <a:lnTo>
                      <a:pt x="50" y="50"/>
                    </a:lnTo>
                    <a:lnTo>
                      <a:pt x="60" y="31"/>
                    </a:lnTo>
                    <a:lnTo>
                      <a:pt x="77" y="13"/>
                    </a:lnTo>
                    <a:lnTo>
                      <a:pt x="98" y="4"/>
                    </a:lnTo>
                    <a:lnTo>
                      <a:pt x="121" y="0"/>
                    </a:lnTo>
                    <a:close/>
                  </a:path>
                </a:pathLst>
              </a:custGeom>
              <a:solidFill>
                <a:srgbClr val="4FFEFF"/>
              </a:solidFill>
              <a:ln w="0">
                <a:solidFill>
                  <a:srgbClr val="4FFEFF"/>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4" name="Freeform 913"/>
              <p:cNvSpPr>
                <a:spLocks noEditPoints="1"/>
              </p:cNvSpPr>
              <p:nvPr/>
            </p:nvSpPr>
            <p:spPr bwMode="auto">
              <a:xfrm>
                <a:off x="7532688" y="6281738"/>
                <a:ext cx="960438" cy="663575"/>
              </a:xfrm>
              <a:custGeom>
                <a:avLst/>
                <a:gdLst>
                  <a:gd name="T0" fmla="*/ 567 w 605"/>
                  <a:gd name="T1" fmla="*/ 263 h 418"/>
                  <a:gd name="T2" fmla="*/ 605 w 605"/>
                  <a:gd name="T3" fmla="*/ 263 h 418"/>
                  <a:gd name="T4" fmla="*/ 605 w 605"/>
                  <a:gd name="T5" fmla="*/ 418 h 418"/>
                  <a:gd name="T6" fmla="*/ 567 w 605"/>
                  <a:gd name="T7" fmla="*/ 418 h 418"/>
                  <a:gd name="T8" fmla="*/ 567 w 605"/>
                  <a:gd name="T9" fmla="*/ 263 h 418"/>
                  <a:gd name="T10" fmla="*/ 536 w 605"/>
                  <a:gd name="T11" fmla="*/ 263 h 418"/>
                  <a:gd name="T12" fmla="*/ 556 w 605"/>
                  <a:gd name="T13" fmla="*/ 263 h 418"/>
                  <a:gd name="T14" fmla="*/ 556 w 605"/>
                  <a:gd name="T15" fmla="*/ 418 h 418"/>
                  <a:gd name="T16" fmla="*/ 536 w 605"/>
                  <a:gd name="T17" fmla="*/ 418 h 418"/>
                  <a:gd name="T18" fmla="*/ 536 w 605"/>
                  <a:gd name="T19" fmla="*/ 263 h 418"/>
                  <a:gd name="T20" fmla="*/ 456 w 605"/>
                  <a:gd name="T21" fmla="*/ 263 h 418"/>
                  <a:gd name="T22" fmla="*/ 475 w 605"/>
                  <a:gd name="T23" fmla="*/ 263 h 418"/>
                  <a:gd name="T24" fmla="*/ 475 w 605"/>
                  <a:gd name="T25" fmla="*/ 418 h 418"/>
                  <a:gd name="T26" fmla="*/ 456 w 605"/>
                  <a:gd name="T27" fmla="*/ 418 h 418"/>
                  <a:gd name="T28" fmla="*/ 456 w 605"/>
                  <a:gd name="T29" fmla="*/ 263 h 418"/>
                  <a:gd name="T30" fmla="*/ 394 w 605"/>
                  <a:gd name="T31" fmla="*/ 263 h 418"/>
                  <a:gd name="T32" fmla="*/ 413 w 605"/>
                  <a:gd name="T33" fmla="*/ 263 h 418"/>
                  <a:gd name="T34" fmla="*/ 413 w 605"/>
                  <a:gd name="T35" fmla="*/ 418 h 418"/>
                  <a:gd name="T36" fmla="*/ 394 w 605"/>
                  <a:gd name="T37" fmla="*/ 418 h 418"/>
                  <a:gd name="T38" fmla="*/ 394 w 605"/>
                  <a:gd name="T39" fmla="*/ 263 h 418"/>
                  <a:gd name="T40" fmla="*/ 339 w 605"/>
                  <a:gd name="T41" fmla="*/ 263 h 418"/>
                  <a:gd name="T42" fmla="*/ 383 w 605"/>
                  <a:gd name="T43" fmla="*/ 263 h 418"/>
                  <a:gd name="T44" fmla="*/ 383 w 605"/>
                  <a:gd name="T45" fmla="*/ 418 h 418"/>
                  <a:gd name="T46" fmla="*/ 339 w 605"/>
                  <a:gd name="T47" fmla="*/ 418 h 418"/>
                  <a:gd name="T48" fmla="*/ 339 w 605"/>
                  <a:gd name="T49" fmla="*/ 263 h 418"/>
                  <a:gd name="T50" fmla="*/ 314 w 605"/>
                  <a:gd name="T51" fmla="*/ 263 h 418"/>
                  <a:gd name="T52" fmla="*/ 333 w 605"/>
                  <a:gd name="T53" fmla="*/ 263 h 418"/>
                  <a:gd name="T54" fmla="*/ 333 w 605"/>
                  <a:gd name="T55" fmla="*/ 418 h 418"/>
                  <a:gd name="T56" fmla="*/ 314 w 605"/>
                  <a:gd name="T57" fmla="*/ 418 h 418"/>
                  <a:gd name="T58" fmla="*/ 314 w 605"/>
                  <a:gd name="T59" fmla="*/ 263 h 418"/>
                  <a:gd name="T60" fmla="*/ 0 w 605"/>
                  <a:gd name="T61" fmla="*/ 0 h 418"/>
                  <a:gd name="T62" fmla="*/ 604 w 605"/>
                  <a:gd name="T63" fmla="*/ 0 h 418"/>
                  <a:gd name="T64" fmla="*/ 605 w 605"/>
                  <a:gd name="T65" fmla="*/ 75 h 418"/>
                  <a:gd name="T66" fmla="*/ 542 w 605"/>
                  <a:gd name="T67" fmla="*/ 207 h 418"/>
                  <a:gd name="T68" fmla="*/ 289 w 605"/>
                  <a:gd name="T69" fmla="*/ 207 h 418"/>
                  <a:gd name="T70" fmla="*/ 252 w 605"/>
                  <a:gd name="T71" fmla="*/ 276 h 418"/>
                  <a:gd name="T72" fmla="*/ 225 w 605"/>
                  <a:gd name="T73" fmla="*/ 267 h 418"/>
                  <a:gd name="T74" fmla="*/ 168 w 605"/>
                  <a:gd name="T75" fmla="*/ 414 h 418"/>
                  <a:gd name="T76" fmla="*/ 75 w 605"/>
                  <a:gd name="T77" fmla="*/ 418 h 418"/>
                  <a:gd name="T78" fmla="*/ 125 w 605"/>
                  <a:gd name="T79" fmla="*/ 211 h 418"/>
                  <a:gd name="T80" fmla="*/ 0 w 605"/>
                  <a:gd name="T81" fmla="*/ 211 h 418"/>
                  <a:gd name="T82" fmla="*/ 0 w 605"/>
                  <a:gd name="T8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418">
                    <a:moveTo>
                      <a:pt x="567" y="263"/>
                    </a:moveTo>
                    <a:lnTo>
                      <a:pt x="605" y="263"/>
                    </a:lnTo>
                    <a:lnTo>
                      <a:pt x="605" y="418"/>
                    </a:lnTo>
                    <a:lnTo>
                      <a:pt x="567" y="418"/>
                    </a:lnTo>
                    <a:lnTo>
                      <a:pt x="567" y="263"/>
                    </a:lnTo>
                    <a:close/>
                    <a:moveTo>
                      <a:pt x="536" y="263"/>
                    </a:moveTo>
                    <a:lnTo>
                      <a:pt x="556" y="263"/>
                    </a:lnTo>
                    <a:lnTo>
                      <a:pt x="556" y="418"/>
                    </a:lnTo>
                    <a:lnTo>
                      <a:pt x="536" y="418"/>
                    </a:lnTo>
                    <a:lnTo>
                      <a:pt x="536" y="263"/>
                    </a:lnTo>
                    <a:close/>
                    <a:moveTo>
                      <a:pt x="456" y="263"/>
                    </a:moveTo>
                    <a:lnTo>
                      <a:pt x="475" y="263"/>
                    </a:lnTo>
                    <a:lnTo>
                      <a:pt x="475" y="418"/>
                    </a:lnTo>
                    <a:lnTo>
                      <a:pt x="456" y="418"/>
                    </a:lnTo>
                    <a:lnTo>
                      <a:pt x="456" y="263"/>
                    </a:lnTo>
                    <a:close/>
                    <a:moveTo>
                      <a:pt x="394" y="263"/>
                    </a:moveTo>
                    <a:lnTo>
                      <a:pt x="413" y="263"/>
                    </a:lnTo>
                    <a:lnTo>
                      <a:pt x="413" y="418"/>
                    </a:lnTo>
                    <a:lnTo>
                      <a:pt x="394" y="418"/>
                    </a:lnTo>
                    <a:lnTo>
                      <a:pt x="394" y="263"/>
                    </a:lnTo>
                    <a:close/>
                    <a:moveTo>
                      <a:pt x="339" y="263"/>
                    </a:moveTo>
                    <a:lnTo>
                      <a:pt x="383" y="263"/>
                    </a:lnTo>
                    <a:lnTo>
                      <a:pt x="383" y="418"/>
                    </a:lnTo>
                    <a:lnTo>
                      <a:pt x="339" y="418"/>
                    </a:lnTo>
                    <a:lnTo>
                      <a:pt x="339" y="263"/>
                    </a:lnTo>
                    <a:close/>
                    <a:moveTo>
                      <a:pt x="314" y="263"/>
                    </a:moveTo>
                    <a:lnTo>
                      <a:pt x="333" y="263"/>
                    </a:lnTo>
                    <a:lnTo>
                      <a:pt x="333" y="418"/>
                    </a:lnTo>
                    <a:lnTo>
                      <a:pt x="314" y="418"/>
                    </a:lnTo>
                    <a:lnTo>
                      <a:pt x="314" y="263"/>
                    </a:lnTo>
                    <a:close/>
                    <a:moveTo>
                      <a:pt x="0" y="0"/>
                    </a:moveTo>
                    <a:lnTo>
                      <a:pt x="604" y="0"/>
                    </a:lnTo>
                    <a:lnTo>
                      <a:pt x="605" y="75"/>
                    </a:lnTo>
                    <a:lnTo>
                      <a:pt x="542" y="207"/>
                    </a:lnTo>
                    <a:lnTo>
                      <a:pt x="289" y="207"/>
                    </a:lnTo>
                    <a:lnTo>
                      <a:pt x="252" y="276"/>
                    </a:lnTo>
                    <a:lnTo>
                      <a:pt x="225" y="267"/>
                    </a:lnTo>
                    <a:lnTo>
                      <a:pt x="168" y="414"/>
                    </a:lnTo>
                    <a:lnTo>
                      <a:pt x="75" y="418"/>
                    </a:lnTo>
                    <a:lnTo>
                      <a:pt x="125" y="211"/>
                    </a:lnTo>
                    <a:lnTo>
                      <a:pt x="0" y="211"/>
                    </a:lnTo>
                    <a:lnTo>
                      <a:pt x="0" y="0"/>
                    </a:lnTo>
                    <a:close/>
                  </a:path>
                </a:pathLst>
              </a:custGeom>
              <a:solidFill>
                <a:srgbClr val="FFB912"/>
              </a:solidFill>
              <a:ln w="0">
                <a:solidFill>
                  <a:srgbClr val="FFB912"/>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5" name="Freeform 914"/>
              <p:cNvSpPr>
                <a:spLocks/>
              </p:cNvSpPr>
              <p:nvPr/>
            </p:nvSpPr>
            <p:spPr bwMode="auto">
              <a:xfrm>
                <a:off x="7651751" y="6607175"/>
                <a:ext cx="341313" cy="338138"/>
              </a:xfrm>
              <a:custGeom>
                <a:avLst/>
                <a:gdLst>
                  <a:gd name="T0" fmla="*/ 46 w 215"/>
                  <a:gd name="T1" fmla="*/ 0 h 213"/>
                  <a:gd name="T2" fmla="*/ 215 w 215"/>
                  <a:gd name="T3" fmla="*/ 0 h 213"/>
                  <a:gd name="T4" fmla="*/ 177 w 215"/>
                  <a:gd name="T5" fmla="*/ 71 h 213"/>
                  <a:gd name="T6" fmla="*/ 150 w 215"/>
                  <a:gd name="T7" fmla="*/ 62 h 213"/>
                  <a:gd name="T8" fmla="*/ 94 w 215"/>
                  <a:gd name="T9" fmla="*/ 211 h 213"/>
                  <a:gd name="T10" fmla="*/ 0 w 215"/>
                  <a:gd name="T11" fmla="*/ 213 h 213"/>
                  <a:gd name="T12" fmla="*/ 46 w 215"/>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46" y="0"/>
                    </a:moveTo>
                    <a:lnTo>
                      <a:pt x="215" y="0"/>
                    </a:lnTo>
                    <a:lnTo>
                      <a:pt x="177" y="71"/>
                    </a:lnTo>
                    <a:lnTo>
                      <a:pt x="150" y="62"/>
                    </a:lnTo>
                    <a:lnTo>
                      <a:pt x="94" y="211"/>
                    </a:lnTo>
                    <a:lnTo>
                      <a:pt x="0" y="213"/>
                    </a:lnTo>
                    <a:lnTo>
                      <a:pt x="4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sp>
            <p:nvSpPr>
              <p:cNvPr id="96" name="Rectangle 915"/>
              <p:cNvSpPr>
                <a:spLocks noChangeArrowheads="1"/>
              </p:cNvSpPr>
              <p:nvPr/>
            </p:nvSpPr>
            <p:spPr bwMode="auto">
              <a:xfrm>
                <a:off x="7551738" y="6311900"/>
                <a:ext cx="920750" cy="58738"/>
              </a:xfrm>
              <a:prstGeom prst="rect">
                <a:avLst/>
              </a:prstGeom>
              <a:solidFill>
                <a:srgbClr val="C30000"/>
              </a:solidFill>
              <a:ln w="0">
                <a:solidFill>
                  <a:srgbClr val="C3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24"/>
              </a:p>
            </p:txBody>
          </p:sp>
        </p:grpSp>
        <p:sp>
          <p:nvSpPr>
            <p:cNvPr id="52" name="Freeform 877"/>
            <p:cNvSpPr>
              <a:spLocks/>
            </p:cNvSpPr>
            <p:nvPr userDrawn="1"/>
          </p:nvSpPr>
          <p:spPr bwMode="auto">
            <a:xfrm>
              <a:off x="6142037" y="3887788"/>
              <a:ext cx="3124200" cy="987425"/>
            </a:xfrm>
            <a:custGeom>
              <a:avLst/>
              <a:gdLst>
                <a:gd name="T0" fmla="*/ 1553 w 1968"/>
                <a:gd name="T1" fmla="*/ 0 h 622"/>
                <a:gd name="T2" fmla="*/ 1968 w 1968"/>
                <a:gd name="T3" fmla="*/ 395 h 622"/>
                <a:gd name="T4" fmla="*/ 1613 w 1968"/>
                <a:gd name="T5" fmla="*/ 338 h 622"/>
                <a:gd name="T6" fmla="*/ 1196 w 1968"/>
                <a:gd name="T7" fmla="*/ 410 h 622"/>
                <a:gd name="T8" fmla="*/ 655 w 1968"/>
                <a:gd name="T9" fmla="*/ 622 h 622"/>
                <a:gd name="T10" fmla="*/ 359 w 1968"/>
                <a:gd name="T11" fmla="*/ 410 h 622"/>
                <a:gd name="T12" fmla="*/ 0 w 1968"/>
                <a:gd name="T13" fmla="*/ 499 h 622"/>
                <a:gd name="T14" fmla="*/ 424 w 1968"/>
                <a:gd name="T15" fmla="*/ 134 h 622"/>
                <a:gd name="T16" fmla="*/ 741 w 1968"/>
                <a:gd name="T17" fmla="*/ 395 h 622"/>
                <a:gd name="T18" fmla="*/ 1119 w 1968"/>
                <a:gd name="T19" fmla="*/ 320 h 622"/>
                <a:gd name="T20" fmla="*/ 1553 w 1968"/>
                <a:gd name="T21"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8" h="622">
                  <a:moveTo>
                    <a:pt x="1553" y="0"/>
                  </a:moveTo>
                  <a:lnTo>
                    <a:pt x="1968" y="395"/>
                  </a:lnTo>
                  <a:lnTo>
                    <a:pt x="1613" y="338"/>
                  </a:lnTo>
                  <a:lnTo>
                    <a:pt x="1196" y="410"/>
                  </a:lnTo>
                  <a:lnTo>
                    <a:pt x="655" y="622"/>
                  </a:lnTo>
                  <a:lnTo>
                    <a:pt x="359" y="410"/>
                  </a:lnTo>
                  <a:lnTo>
                    <a:pt x="0" y="499"/>
                  </a:lnTo>
                  <a:lnTo>
                    <a:pt x="424" y="134"/>
                  </a:lnTo>
                  <a:lnTo>
                    <a:pt x="741" y="395"/>
                  </a:lnTo>
                  <a:lnTo>
                    <a:pt x="1119" y="320"/>
                  </a:lnTo>
                  <a:lnTo>
                    <a:pt x="1553" y="0"/>
                  </a:lnTo>
                  <a:close/>
                </a:path>
              </a:pathLst>
            </a:custGeom>
            <a:solidFill>
              <a:schemeClr val="tx2">
                <a:lumMod val="10000"/>
                <a:lumOff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3"/>
          </p:nvPr>
        </p:nvSpPr>
        <p:spPr>
          <a:xfrm>
            <a:off x="276389" y="1189177"/>
            <a:ext cx="6947292" cy="1278746"/>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302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with Graphic 2">
    <p:spTree>
      <p:nvGrpSpPr>
        <p:cNvPr id="1" name=""/>
        <p:cNvGrpSpPr/>
        <p:nvPr/>
      </p:nvGrpSpPr>
      <p:grpSpPr>
        <a:xfrm>
          <a:off x="0" y="0"/>
          <a:ext cx="0" cy="0"/>
          <a:chOff x="0" y="0"/>
          <a:chExt cx="0" cy="0"/>
        </a:xfrm>
      </p:grpSpPr>
      <p:sp>
        <p:nvSpPr>
          <p:cNvPr id="51" name="Rectangle 50"/>
          <p:cNvSpPr/>
          <p:nvPr/>
        </p:nvSpPr>
        <p:spPr>
          <a:xfrm>
            <a:off x="1" y="0"/>
            <a:ext cx="12192000" cy="3201971"/>
          </a:xfrm>
          <a:prstGeom prst="rect">
            <a:avLst/>
          </a:prstGeom>
          <a:solidFill>
            <a:srgbClr val="94CD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24"/>
          </a:p>
        </p:txBody>
      </p:sp>
      <p:pic>
        <p:nvPicPr>
          <p:cNvPr id="97" name="Picture 96"/>
          <p:cNvPicPr>
            <a:picLocks noChangeAspect="1"/>
          </p:cNvPicPr>
          <p:nvPr/>
        </p:nvPicPr>
        <p:blipFill rotWithShape="1">
          <a:blip r:embed="rId2" cstate="email">
            <a:extLst>
              <a:ext uri="{28A0092B-C50C-407E-A947-70E740481C1C}">
                <a14:useLocalDpi xmlns:a14="http://schemas.microsoft.com/office/drawing/2010/main" val="0"/>
              </a:ext>
            </a:extLst>
          </a:blip>
          <a:srcRect r="18395"/>
          <a:stretch/>
        </p:blipFill>
        <p:spPr>
          <a:xfrm>
            <a:off x="0" y="1860035"/>
            <a:ext cx="12221570" cy="4997966"/>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60169" y="6041178"/>
            <a:ext cx="1613565" cy="34675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8814843" cy="1278746"/>
          </a:xfrm>
        </p:spPr>
        <p:txBody>
          <a:bodyPr/>
          <a:lstStyle>
            <a:lvl1pPr marL="0" indent="0">
              <a:buNone/>
              <a:defRPr>
                <a:solidFill>
                  <a:schemeClr val="bg1"/>
                </a:solidFill>
              </a:defRPr>
            </a:lvl1pPr>
            <a:lvl2pPr marL="0" indent="0">
              <a:buNone/>
              <a:defRPr>
                <a:solidFill>
                  <a:schemeClr val="tx1">
                    <a:lumMod val="65000"/>
                    <a:lumOff val="35000"/>
                  </a:schemeClr>
                </a:solidFill>
              </a:defRPr>
            </a:lvl2pPr>
            <a:lvl3pPr marL="0" indent="0">
              <a:buNone/>
              <a:defRPr>
                <a:solidFill>
                  <a:schemeClr val="tx1">
                    <a:lumMod val="65000"/>
                    <a:lumOff val="35000"/>
                  </a:schemeClr>
                </a:solidFill>
              </a:defRPr>
            </a:lvl3pPr>
            <a:lvl4pPr marL="0" indent="0">
              <a:buNone/>
              <a:defRPr>
                <a:solidFill>
                  <a:schemeClr val="tx1">
                    <a:lumMod val="65000"/>
                    <a:lumOff val="35000"/>
                  </a:schemeClr>
                </a:solidFill>
              </a:defRPr>
            </a:lvl4pPr>
            <a:lvl5pPr marL="0" indent="0">
              <a:buNone/>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79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C6D21-6A99-4ECA-9177-71C6EFBB97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A1BD78-6686-4D09-B094-F6CEDECBB7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9E9C43-7008-40BE-8AF7-F9C1759FA959}"/>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22B6E345-3F1B-4BCF-989F-890CF72614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7C1158-6B98-42F7-A9B7-C967F908F62A}"/>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1755697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303643"/>
          </a:xfrm>
        </p:spPr>
        <p:txBody>
          <a:bodyPr/>
          <a:lstStyle>
            <a:lvl1pPr marL="0" indent="0">
              <a:buNone/>
              <a:defRPr>
                <a:solidFill>
                  <a:schemeClr val="accent1"/>
                </a:solidFill>
              </a:defRPr>
            </a:lvl1pPr>
            <a:lvl2pPr marL="0" indent="0">
              <a:buFontTx/>
              <a:buNone/>
              <a:defRPr sz="1471"/>
            </a:lvl2pPr>
            <a:lvl3pPr marL="168084" indent="0">
              <a:buNone/>
              <a:defRPr/>
            </a:lvl3pPr>
            <a:lvl4pPr marL="336168" indent="0">
              <a:buNone/>
              <a:defRPr/>
            </a:lvl4pPr>
            <a:lvl5pPr marL="5042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3034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5437702" cy="1303643"/>
          </a:xfrm>
        </p:spPr>
        <p:txBody>
          <a:bodyPr/>
          <a:lstStyle>
            <a:lvl1pPr marL="0" indent="0">
              <a:buNone/>
              <a:defRPr>
                <a:solidFill>
                  <a:schemeClr val="accent1"/>
                </a:solidFill>
              </a:defRPr>
            </a:lvl1pPr>
            <a:lvl2pPr marL="0" indent="0">
              <a:buFontTx/>
              <a:buNone/>
              <a:defRPr sz="1471"/>
            </a:lvl2pPr>
            <a:lvl3pPr marL="168084" indent="0">
              <a:buNone/>
              <a:defRPr/>
            </a:lvl3pPr>
            <a:lvl4pPr marL="336168" indent="0">
              <a:buNone/>
              <a:defRPr/>
            </a:lvl4pPr>
            <a:lvl5pPr marL="5042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94924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297928" y="1533104"/>
            <a:ext cx="7627153" cy="1110762"/>
          </a:xfrm>
        </p:spPr>
        <p:txBody>
          <a:bodyPr/>
          <a:lstStyle>
            <a:lvl1pPr marL="0" indent="0">
              <a:spcBef>
                <a:spcPts val="1765"/>
              </a:spcBef>
              <a:buNone/>
              <a:defRPr sz="1765">
                <a:solidFill>
                  <a:schemeClr val="accent1"/>
                </a:solidFill>
              </a:defRPr>
            </a:lvl1pPr>
            <a:lvl2pPr marL="0" indent="0">
              <a:spcAft>
                <a:spcPts val="441"/>
              </a:spcAft>
              <a:buFontTx/>
              <a:buNone/>
              <a:defRPr sz="1177"/>
            </a:lvl2pPr>
            <a:lvl3pPr marL="168084" indent="0">
              <a:buNone/>
              <a:defRPr sz="882"/>
            </a:lvl3pPr>
            <a:lvl4pPr marL="336168" indent="0">
              <a:buNone/>
              <a:defRPr sz="809"/>
            </a:lvl4pPr>
            <a:lvl5pPr marL="504253" indent="0">
              <a:buNone/>
              <a:defRPr sz="80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569159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302839" y="1533059"/>
            <a:ext cx="7614873" cy="1110762"/>
          </a:xfrm>
        </p:spPr>
        <p:txBody>
          <a:bodyPr/>
          <a:lstStyle>
            <a:lvl1pPr marL="0" indent="0">
              <a:spcBef>
                <a:spcPts val="1765"/>
              </a:spcBef>
              <a:buNone/>
              <a:defRPr sz="1765">
                <a:solidFill>
                  <a:schemeClr val="accent1"/>
                </a:solidFill>
              </a:defRPr>
            </a:lvl1pPr>
            <a:lvl2pPr marL="0" indent="0">
              <a:spcAft>
                <a:spcPts val="441"/>
              </a:spcAft>
              <a:buFontTx/>
              <a:buNone/>
              <a:defRPr sz="1177"/>
            </a:lvl2pPr>
            <a:lvl3pPr marL="168084" indent="0">
              <a:buNone/>
              <a:defRPr sz="882"/>
            </a:lvl3pPr>
            <a:lvl4pPr marL="336168" indent="0">
              <a:buNone/>
              <a:defRPr sz="809"/>
            </a:lvl4pPr>
            <a:lvl5pPr marL="504253" indent="0">
              <a:buNone/>
              <a:defRPr sz="80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886724"/>
            <a:ext cx="11655078" cy="384756"/>
          </a:xfrm>
        </p:spPr>
        <p:txBody>
          <a:bodyPr/>
          <a:lstStyle>
            <a:lvl1pPr marL="0" indent="0">
              <a:buNone/>
              <a:defRPr sz="1471">
                <a:solidFill>
                  <a:schemeClr val="accent6"/>
                </a:solidFill>
              </a:defRPr>
            </a:lvl1pPr>
            <a:lvl2pPr marL="252127" indent="0">
              <a:buNone/>
              <a:defRPr/>
            </a:lvl2pPr>
            <a:lvl3pPr marL="420211" indent="0">
              <a:buNone/>
              <a:defRPr/>
            </a:lvl3pPr>
            <a:lvl4pPr marL="588295" indent="0">
              <a:buNone/>
              <a:defRPr/>
            </a:lvl4pPr>
            <a:lvl5pPr marL="756379" indent="0">
              <a:buNone/>
              <a:defRPr/>
            </a:lvl5pPr>
          </a:lstStyle>
          <a:p>
            <a:pPr lvl="0"/>
            <a:r>
              <a:rPr lang="en-US" dirty="0"/>
              <a:t>Edit Master text styles</a:t>
            </a:r>
          </a:p>
        </p:txBody>
      </p:sp>
    </p:spTree>
    <p:extLst>
      <p:ext uri="{BB962C8B-B14F-4D97-AF65-F5344CB8AC3E}">
        <p14:creationId xmlns:p14="http://schemas.microsoft.com/office/powerpoint/2010/main" val="22425873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5"/>
            <a:ext cx="5785203" cy="1163320"/>
          </a:xfrm>
        </p:spPr>
        <p:txBody>
          <a:bodyPr/>
          <a:lstStyle>
            <a:lvl1pPr marL="0" indent="0">
              <a:spcBef>
                <a:spcPts val="1765"/>
              </a:spcBef>
              <a:buNone/>
              <a:defRPr sz="2059">
                <a:solidFill>
                  <a:schemeClr val="accent1"/>
                </a:solidFill>
              </a:defRPr>
            </a:lvl1pPr>
            <a:lvl2pPr marL="0" indent="0">
              <a:buFontTx/>
              <a:buNone/>
              <a:defRPr sz="1324"/>
            </a:lvl2pPr>
            <a:lvl3pPr marL="168084" indent="0">
              <a:buNone/>
              <a:defRPr sz="1030"/>
            </a:lvl3pPr>
            <a:lvl4pPr marL="336168" indent="0">
              <a:buNone/>
              <a:defRPr sz="882"/>
            </a:lvl4pPr>
            <a:lvl5pPr marL="504253" indent="0">
              <a:buNone/>
              <a:defRPr sz="88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00120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119481" y="289512"/>
            <a:ext cx="580559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20635" y="1737553"/>
            <a:ext cx="5804444" cy="1253851"/>
          </a:xfrm>
        </p:spPr>
        <p:txBody>
          <a:bodyPr/>
          <a:lstStyle>
            <a:lvl1pPr marL="0" indent="0">
              <a:buNone/>
              <a:defRPr sz="2353">
                <a:solidFill>
                  <a:schemeClr val="accent1"/>
                </a:solidFill>
              </a:defRPr>
            </a:lvl1pPr>
            <a:lvl2pPr marL="0" indent="0">
              <a:buFontTx/>
              <a:buNone/>
              <a:defRPr sz="1177"/>
            </a:lvl2pPr>
            <a:lvl3pPr marL="168084" indent="0">
              <a:buNone/>
              <a:defRPr sz="1177"/>
            </a:lvl3pPr>
            <a:lvl4pPr marL="336168" indent="0">
              <a:buNone/>
              <a:defRPr sz="1030"/>
            </a:lvl4pPr>
            <a:lvl5pPr marL="504253" indent="0">
              <a:buNone/>
              <a:defRPr sz="10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02887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54940" y="2747609"/>
            <a:ext cx="7171398" cy="466233"/>
          </a:xfrm>
        </p:spPr>
        <p:txBody>
          <a:bodyPr anchor="ctr"/>
          <a:lstStyle>
            <a:lvl1pPr marL="0" indent="0">
              <a:spcBef>
                <a:spcPts val="441"/>
              </a:spcBef>
              <a:spcAft>
                <a:spcPts val="441"/>
              </a:spcAft>
              <a:buNone/>
              <a:defRPr sz="2059">
                <a:solidFill>
                  <a:schemeClr val="accent6"/>
                </a:solidFill>
              </a:defRPr>
            </a:lvl1pPr>
            <a:lvl2pPr marL="0" indent="0">
              <a:buFontTx/>
              <a:buNone/>
              <a:defRPr sz="1324">
                <a:solidFill>
                  <a:schemeClr val="accent1"/>
                </a:solidFill>
              </a:defRPr>
            </a:lvl2pPr>
            <a:lvl3pPr marL="168084" indent="0">
              <a:buNone/>
              <a:defRPr sz="1030"/>
            </a:lvl3pPr>
            <a:lvl4pPr marL="336168" indent="0">
              <a:buNone/>
              <a:defRPr sz="882"/>
            </a:lvl4pPr>
            <a:lvl5pPr marL="504253" indent="0">
              <a:buNone/>
              <a:defRPr sz="882"/>
            </a:lvl5pPr>
          </a:lstStyle>
          <a:p>
            <a:pPr lvl="0"/>
            <a:r>
              <a:rPr lang="en-US" dirty="0"/>
              <a:t>Click to edit Master text styles</a:t>
            </a:r>
          </a:p>
        </p:txBody>
      </p:sp>
    </p:spTree>
    <p:extLst>
      <p:ext uri="{BB962C8B-B14F-4D97-AF65-F5344CB8AC3E}">
        <p14:creationId xmlns:p14="http://schemas.microsoft.com/office/powerpoint/2010/main" val="1667583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63" presetClass="path" presetSubtype="0" decel="100000" fill="hold" grpId="1" nodeType="withEffect">
                                  <p:stCondLst>
                                    <p:cond delay="0"/>
                                  </p:stCondLst>
                                  <p:childTnLst>
                                    <p:animMotion origin="layout" path="M -4.22007E-6 -4.5892E-6 L 0.05349 -4.5892E-6 " pathEditMode="relative" rAng="0" ptsTypes="AA">
                                      <p:cBhvr>
                                        <p:cTn id="9" dur="500" fill="hold"/>
                                        <p:tgtEl>
                                          <p:spTgt spid="6">
                                            <p:txEl>
                                              <p:pRg st="0" end="0"/>
                                            </p:txEl>
                                          </p:spTgt>
                                        </p:tgtEl>
                                        <p:attrNameLst>
                                          <p:attrName>ppt_x</p:attrName>
                                          <p:attrName>ppt_y</p:attrName>
                                        </p:attrNameLst>
                                      </p:cBhvr>
                                      <p:rCtr x="26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6" grpId="1" build="p" bldLvl="2">
        <p:tmplLst>
          <p:tmpl lvl="1">
            <p:tnLst>
              <p:par>
                <p:cTn presetID="63" presetClass="path" presetSubtype="0" decel="100000" fill="hold" nodeType="withEffect">
                  <p:stCondLst>
                    <p:cond delay="0"/>
                  </p:stCondLst>
                  <p:childTnLst>
                    <p:animMotion origin="layout" path="M -4.22007E-6 -4.5892E-6 L 0.05349 -4.5892E-6 " pathEditMode="relative" rAng="0" ptsTypes="AA">
                      <p:cBhvr>
                        <p:cTn dur="500" fill="hold"/>
                        <p:tgtEl>
                          <p:spTgt spid="6"/>
                        </p:tgtEl>
                        <p:attrNameLst>
                          <p:attrName>ppt_x</p:attrName>
                          <p:attrName>ppt_y</p:attrName>
                        </p:attrNameLst>
                      </p:cBhvr>
                      <p:rCtr x="2668" y="0"/>
                    </p:animMotion>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30364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84" indent="0">
              <a:buNone/>
              <a:defRPr/>
            </a:lvl3pPr>
            <a:lvl4pPr marL="336168" indent="0">
              <a:buNone/>
              <a:defRPr/>
            </a:lvl4pPr>
            <a:lvl5pPr marL="5042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06195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319485"/>
          </a:xfrm>
        </p:spPr>
        <p:txBody>
          <a:bodyPr>
            <a:spAutoFit/>
          </a:bodyPr>
          <a:lstStyle>
            <a:lvl1pPr>
              <a:defRPr sz="2647">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53406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319485"/>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19949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1CE4E-1D4E-47A8-8EFD-2DA54EC6F4F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F84DF25-6DDB-48D0-B4B7-B9CC9FE99A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58352E-A6D2-4E73-BD7A-F4737E7AADBA}"/>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17B21442-595C-4857-8CE0-127D04D6D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DE74A0-3FE0-4D3B-8D31-CBEB67984FFE}"/>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1386289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397947"/>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397947"/>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4653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39794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39794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1196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406924"/>
          </a:xfrm>
        </p:spPr>
        <p:txBody>
          <a:bodyPr wrap="square">
            <a:spAutoFit/>
          </a:bodyPr>
          <a:lstStyle>
            <a:lvl1pPr marL="211273" indent="-211273">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54" indent="-171463">
              <a:defRPr sz="1765"/>
            </a:lvl2pPr>
            <a:lvl3pPr marL="514389" indent="-123834">
              <a:tabLst/>
              <a:defRPr sz="147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406924"/>
          </a:xfrm>
        </p:spPr>
        <p:txBody>
          <a:bodyPr wrap="square">
            <a:spAutoFit/>
          </a:bodyPr>
          <a:lstStyle>
            <a:lvl1pPr marL="211273" indent="-211273">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54" indent="-171463">
              <a:defRPr sz="1765"/>
            </a:lvl2pPr>
            <a:lvl3pPr marL="514389" indent="-123834">
              <a:tabLst/>
              <a:defRPr sz="147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555276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406924"/>
          </a:xfrm>
        </p:spPr>
        <p:txBody>
          <a:bodyPr wrap="square">
            <a:spAutoFit/>
          </a:bodyPr>
          <a:lstStyle>
            <a:lvl1pPr marL="211273" indent="-211273">
              <a:spcBef>
                <a:spcPts val="900"/>
              </a:spcBef>
              <a:buClr>
                <a:schemeClr val="tx1"/>
              </a:buClr>
              <a:buFont typeface="Arial" pitchFamily="34" charset="0"/>
              <a:buChar char="•"/>
              <a:defRPr sz="2353"/>
            </a:lvl1pPr>
            <a:lvl2pPr marL="390554" indent="-171463">
              <a:defRPr sz="1765"/>
            </a:lvl2pPr>
            <a:lvl3pPr marL="514389" indent="-123834">
              <a:tabLst/>
              <a:defRPr sz="147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406924"/>
          </a:xfrm>
        </p:spPr>
        <p:txBody>
          <a:bodyPr wrap="square">
            <a:spAutoFit/>
          </a:bodyPr>
          <a:lstStyle>
            <a:lvl1pPr marL="211273" indent="-211273">
              <a:spcBef>
                <a:spcPts val="900"/>
              </a:spcBef>
              <a:buClr>
                <a:schemeClr val="tx1"/>
              </a:buClr>
              <a:buFont typeface="Arial" pitchFamily="34" charset="0"/>
              <a:buChar char="•"/>
              <a:defRPr sz="2353"/>
            </a:lvl1pPr>
            <a:lvl2pPr marL="390554" indent="-171463">
              <a:defRPr sz="1765"/>
            </a:lvl2pPr>
            <a:lvl3pPr marL="514389" indent="-123834">
              <a:tabLst/>
              <a:defRPr sz="1471"/>
            </a:lvl3pPr>
            <a:lvl4pPr marL="647748" indent="-133360">
              <a:defRPr/>
            </a:lvl4pPr>
            <a:lvl5pPr marL="771583" indent="-1238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5681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93707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0429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29797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14235"/>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0239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14235"/>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853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14235"/>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71257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425DA-9A0D-487A-A594-FA677ED40E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0A1966-2EFD-4FFB-8EF4-248AE32EB7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E0168C-AD06-4895-8572-747C188462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F5FF5B-DD82-45CD-86CE-3B0AF36A3946}"/>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6" name="Footer Placeholder 5">
            <a:extLst>
              <a:ext uri="{FF2B5EF4-FFF2-40B4-BE49-F238E27FC236}">
                <a16:creationId xmlns:a16="http://schemas.microsoft.com/office/drawing/2014/main" id="{615FC4AF-4E1A-4634-B0E4-8C3B570606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80F800-2CF6-4585-A263-20137186A1B6}"/>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34537291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6"/>
            <a:ext cx="5378548" cy="856709"/>
          </a:xfrm>
        </p:spPr>
        <p:txBody>
          <a:bodyPr>
            <a:spAutoFit/>
          </a:bodyPr>
          <a:lstStyle>
            <a:lvl1pPr>
              <a:defRPr sz="4852"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1"/>
          </p:nvPr>
        </p:nvSpPr>
        <p:spPr>
          <a:xfrm>
            <a:off x="5797193" y="2"/>
            <a:ext cx="6421265" cy="506972"/>
          </a:xfrm>
        </p:spPr>
        <p:txBody>
          <a:bodyPr/>
          <a:lstStyle/>
          <a:p>
            <a:r>
              <a:rPr lang="en-US"/>
              <a:t>Click icon to add picture</a:t>
            </a:r>
          </a:p>
        </p:txBody>
      </p:sp>
    </p:spTree>
    <p:extLst>
      <p:ext uri="{BB962C8B-B14F-4D97-AF65-F5344CB8AC3E}">
        <p14:creationId xmlns:p14="http://schemas.microsoft.com/office/powerpoint/2010/main" val="833471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409393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044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869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008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3" tIns="34293" rIns="34293" bIns="34293" numCol="1" spcCol="0" rtlCol="0" fromWordArt="0" anchor="ctr" anchorCtr="0" forceAA="0" compatLnSpc="1">
            <a:prstTxWarp prst="textNoShape">
              <a:avLst/>
            </a:prstTxWarp>
            <a:noAutofit/>
          </a:bodyPr>
          <a:lstStyle/>
          <a:p>
            <a:pPr algn="ctr" defTabSz="68562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288932"/>
          </a:xfrm>
        </p:spPr>
        <p:txBody>
          <a:bodyPr/>
          <a:lstStyle>
            <a:lvl1pPr marL="0" indent="0">
              <a:buNone/>
              <a:defRPr sz="242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304848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0059"/>
            <a:ext cx="11623331" cy="296470"/>
          </a:xfrm>
          <a:prstGeom prst="rect">
            <a:avLst/>
          </a:prstGeom>
          <a:noFill/>
          <a:ln w="12700">
            <a:noFill/>
            <a:miter lim="800000"/>
            <a:headEnd type="none" w="sm" len="sm"/>
            <a:tailEnd type="none" w="sm" len="sm"/>
          </a:ln>
          <a:effectLst/>
        </p:spPr>
        <p:txBody>
          <a:bodyPr vert="horz" wrap="square" lIns="134471" tIns="107577" rIns="134471" bIns="107577" numCol="1" anchor="t" anchorCtr="0" compatLnSpc="1">
            <a:prstTxWarp prst="textNoShape">
              <a:avLst/>
            </a:prstTxWarp>
            <a:spAutoFit/>
          </a:bodyPr>
          <a:lstStyle/>
          <a:p>
            <a:pPr defTabSz="685491" eaLnBrk="0" hangingPunct="0"/>
            <a:r>
              <a:rPr lang="en-US" sz="515"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3331118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6"/>
            <a:ext cx="11653523" cy="1842301"/>
          </a:xfrm>
          <a:prstGeom prst="rect">
            <a:avLst/>
          </a:prstGeom>
        </p:spPr>
        <p:txBody>
          <a:bodyPr/>
          <a:lstStyle>
            <a:lvl1pPr marL="213608" indent="-213608">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11" indent="-20660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19" indent="-213608">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03" indent="-168084">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87" indent="-168084">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35288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51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9"/>
                        <a:ext cx="1556" cy="1556"/>
                      </a:xfrm>
                      <a:prstGeom prst="rect">
                        <a:avLst/>
                      </a:prstGeom>
                    </p:spPr>
                  </p:pic>
                </p:oleObj>
              </mc:Fallback>
            </mc:AlternateContent>
          </a:graphicData>
        </a:graphic>
      </p:graphicFrame>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1"/>
            <a:ext cx="12232311" cy="6878154"/>
          </a:xfrm>
          <a:prstGeom prst="rect">
            <a:avLst/>
          </a:prstGeom>
        </p:spPr>
      </p:pic>
    </p:spTree>
    <p:extLst>
      <p:ext uri="{BB962C8B-B14F-4D97-AF65-F5344CB8AC3E}">
        <p14:creationId xmlns:p14="http://schemas.microsoft.com/office/powerpoint/2010/main" val="71552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9"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2" y="2"/>
            <a:ext cx="6053736"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34292" rIns="0" bIns="34292" anchor="ctr"/>
          <a:lstStyle/>
          <a:p>
            <a:pPr algn="ctr" defTabSz="685625">
              <a:defRPr/>
            </a:pPr>
            <a:endParaRPr lang="en-US" sz="147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3823">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3" y="4353453"/>
            <a:ext cx="5487022" cy="432535"/>
          </a:xfrm>
        </p:spPr>
        <p:txBody>
          <a:bodyPr/>
          <a:lstStyle>
            <a:lvl1pPr marL="0" indent="0" algn="l">
              <a:lnSpc>
                <a:spcPts val="1986"/>
              </a:lnSpc>
              <a:buNone/>
              <a:defRPr sz="1618">
                <a:solidFill>
                  <a:schemeClr val="bg1"/>
                </a:solidFill>
                <a:latin typeface="+mj-lt"/>
              </a:defRPr>
            </a:lvl1pPr>
            <a:lvl2pPr marL="336168" indent="0" algn="ctr">
              <a:buNone/>
              <a:defRPr>
                <a:solidFill>
                  <a:schemeClr val="tx1">
                    <a:tint val="75000"/>
                  </a:schemeClr>
                </a:solidFill>
              </a:defRPr>
            </a:lvl2pPr>
            <a:lvl3pPr marL="672338" indent="0" algn="ctr">
              <a:buNone/>
              <a:defRPr>
                <a:solidFill>
                  <a:schemeClr val="tx1">
                    <a:tint val="75000"/>
                  </a:schemeClr>
                </a:solidFill>
              </a:defRPr>
            </a:lvl3pPr>
            <a:lvl4pPr marL="1008506" indent="0" algn="ctr">
              <a:buNone/>
              <a:defRPr>
                <a:solidFill>
                  <a:schemeClr val="tx1">
                    <a:tint val="75000"/>
                  </a:schemeClr>
                </a:solidFill>
              </a:defRPr>
            </a:lvl4pPr>
            <a:lvl5pPr marL="1344674" indent="0" algn="ctr">
              <a:buNone/>
              <a:defRPr>
                <a:solidFill>
                  <a:schemeClr val="tx1">
                    <a:tint val="75000"/>
                  </a:schemeClr>
                </a:solidFill>
              </a:defRPr>
            </a:lvl5pPr>
            <a:lvl6pPr marL="1680843" indent="0" algn="ctr">
              <a:buNone/>
              <a:defRPr>
                <a:solidFill>
                  <a:schemeClr val="tx1">
                    <a:tint val="75000"/>
                  </a:schemeClr>
                </a:solidFill>
              </a:defRPr>
            </a:lvl6pPr>
            <a:lvl7pPr marL="2017012" indent="0" algn="ctr">
              <a:buNone/>
              <a:defRPr>
                <a:solidFill>
                  <a:schemeClr val="tx1">
                    <a:tint val="75000"/>
                  </a:schemeClr>
                </a:solidFill>
              </a:defRPr>
            </a:lvl7pPr>
            <a:lvl8pPr marL="2353180" indent="0" algn="ctr">
              <a:buNone/>
              <a:defRPr>
                <a:solidFill>
                  <a:schemeClr val="tx1">
                    <a:tint val="75000"/>
                  </a:schemeClr>
                </a:solidFill>
              </a:defRPr>
            </a:lvl8pPr>
            <a:lvl9pPr marL="2689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376408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DC70C-F4C7-4C71-8127-6090EF5F92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2F101C-152E-4718-A4CE-C0BA64EF9E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AED1209-9411-4251-8D26-722F0E0284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9A14D93-74C1-4231-909E-282CC22C97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AD0F7F-B909-4149-942A-9A942C6B9C6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7827F6-2437-4D68-A41F-EB1A4EB466AD}"/>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8" name="Footer Placeholder 7">
            <a:extLst>
              <a:ext uri="{FF2B5EF4-FFF2-40B4-BE49-F238E27FC236}">
                <a16:creationId xmlns:a16="http://schemas.microsoft.com/office/drawing/2014/main" id="{FBC07F11-A3FE-4C88-9A34-4C140B2460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7A0C35A-B334-4472-A912-0F6E778538D0}"/>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2084224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07771" indent="-207771">
              <a:tabLst>
                <a:tab pos="207771" algn="l"/>
              </a:tabLst>
              <a:defRPr sz="441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832882"/>
          </a:xfrm>
        </p:spPr>
        <p:txBody>
          <a:bodyPr/>
          <a:lstStyle>
            <a:lvl1pPr marL="0" indent="0" algn="r">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969737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1"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68574" bIns="34287" numCol="1" spcCol="0" rtlCol="0" fromWordArt="0" anchor="ctr" anchorCtr="0" forceAA="0" compatLnSpc="1">
            <a:prstTxWarp prst="textNoShape">
              <a:avLst/>
            </a:prstTxWarp>
            <a:noAutofit/>
          </a:bodyPr>
          <a:lstStyle/>
          <a:p>
            <a:pPr algn="ctr" defTabSz="699269"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68574" bIns="34287" numCol="1" spcCol="0" rtlCol="0" fromWordArt="0" anchor="ctr" anchorCtr="0" forceAA="0" compatLnSpc="1">
            <a:prstTxWarp prst="textNoShape">
              <a:avLst/>
            </a:prstTxWarp>
            <a:noAutofit/>
          </a:bodyPr>
          <a:lstStyle/>
          <a:p>
            <a:pPr algn="ctr" defTabSz="699269" fontAlgn="base">
              <a:spcBef>
                <a:spcPct val="0"/>
              </a:spcBef>
              <a:spcAft>
                <a:spcPct val="0"/>
              </a:spcAft>
            </a:pPr>
            <a:endParaRPr lang="en-US" sz="18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6303305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1"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0" y="4589464"/>
            <a:ext cx="10515601" cy="433965"/>
          </a:xfrm>
        </p:spPr>
        <p:txBody>
          <a:bodyPr/>
          <a:lstStyle>
            <a:lvl1pPr marL="0" indent="0">
              <a:buNone/>
              <a:defRPr sz="1800">
                <a:solidFill>
                  <a:schemeClr val="tx1">
                    <a:tint val="75000"/>
                  </a:schemeClr>
                </a:solidFill>
              </a:defRPr>
            </a:lvl1pPr>
            <a:lvl2pPr marL="342938" indent="0">
              <a:buNone/>
              <a:defRPr sz="1500">
                <a:solidFill>
                  <a:schemeClr val="tx1">
                    <a:tint val="75000"/>
                  </a:schemeClr>
                </a:solidFill>
              </a:defRPr>
            </a:lvl2pPr>
            <a:lvl3pPr marL="685875" indent="0">
              <a:buNone/>
              <a:defRPr sz="1350">
                <a:solidFill>
                  <a:schemeClr val="tx1">
                    <a:tint val="75000"/>
                  </a:schemeClr>
                </a:solidFill>
              </a:defRPr>
            </a:lvl3pPr>
            <a:lvl4pPr marL="1028813" indent="0">
              <a:buNone/>
              <a:defRPr sz="1200">
                <a:solidFill>
                  <a:schemeClr val="tx1">
                    <a:tint val="75000"/>
                  </a:schemeClr>
                </a:solidFill>
              </a:defRPr>
            </a:lvl4pPr>
            <a:lvl5pPr marL="1371751" indent="0">
              <a:buNone/>
              <a:defRPr sz="1200">
                <a:solidFill>
                  <a:schemeClr val="tx1">
                    <a:tint val="75000"/>
                  </a:schemeClr>
                </a:solidFill>
              </a:defRPr>
            </a:lvl5pPr>
            <a:lvl6pPr marL="1714689" indent="0">
              <a:buNone/>
              <a:defRPr sz="1200">
                <a:solidFill>
                  <a:schemeClr val="tx1">
                    <a:tint val="75000"/>
                  </a:schemeClr>
                </a:solidFill>
              </a:defRPr>
            </a:lvl6pPr>
            <a:lvl7pPr marL="2057626" indent="0">
              <a:buNone/>
              <a:defRPr sz="1200">
                <a:solidFill>
                  <a:schemeClr val="tx1">
                    <a:tint val="75000"/>
                  </a:schemeClr>
                </a:solidFill>
              </a:defRPr>
            </a:lvl7pPr>
            <a:lvl8pPr marL="2400564" indent="0">
              <a:buNone/>
              <a:defRPr sz="1200">
                <a:solidFill>
                  <a:schemeClr val="tx1">
                    <a:tint val="75000"/>
                  </a:schemeClr>
                </a:solidFill>
              </a:defRPr>
            </a:lvl8pPr>
            <a:lvl9pPr marL="2743502"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E59445DC-2E8B-430B-87E0-E3F5FD868D4D}" type="datetimeFigureOut">
              <a:rPr lang="en-US" smtClean="0"/>
              <a:t>5/8/2019</a:t>
            </a:fld>
            <a:endParaRPr lang="en-US" dirty="0"/>
          </a:p>
        </p:txBody>
      </p:sp>
      <p:sp>
        <p:nvSpPr>
          <p:cNvPr id="5" name="Footer Placeholder 4"/>
          <p:cNvSpPr>
            <a:spLocks noGrp="1"/>
          </p:cNvSpPr>
          <p:nvPr>
            <p:ph type="ftr" sz="quarter" idx="11"/>
          </p:nvPr>
        </p:nvSpPr>
        <p:spPr>
          <a:xfrm>
            <a:off x="4038601"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1" y="6356351"/>
            <a:ext cx="2743200" cy="365125"/>
          </a:xfrm>
          <a:prstGeom prst="rect">
            <a:avLst/>
          </a:prstGeom>
        </p:spPr>
        <p:txBody>
          <a:bodyPr/>
          <a:lstStyle/>
          <a:p>
            <a:fld id="{3D02B3F6-70B0-4C50-A81E-4522677CFF2C}" type="slidenum">
              <a:rPr lang="en-US" smtClean="0"/>
              <a:t>‹#›</a:t>
            </a:fld>
            <a:endParaRPr lang="en-US" dirty="0"/>
          </a:p>
        </p:txBody>
      </p:sp>
    </p:spTree>
    <p:extLst>
      <p:ext uri="{BB962C8B-B14F-4D97-AF65-F5344CB8AC3E}">
        <p14:creationId xmlns:p14="http://schemas.microsoft.com/office/powerpoint/2010/main" val="3340588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6AD9F-FDD1-4FBB-9657-88F5C24168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3585A7-F342-4C35-93BF-52CDDC1D13CB}"/>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4" name="Footer Placeholder 3">
            <a:extLst>
              <a:ext uri="{FF2B5EF4-FFF2-40B4-BE49-F238E27FC236}">
                <a16:creationId xmlns:a16="http://schemas.microsoft.com/office/drawing/2014/main" id="{BB85BFE5-9088-44B0-82CF-4B1AD9692A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7E7193-A00C-4F90-AF72-5553D2BF03E9}"/>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3827082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BC8C40-F258-4EC2-BA87-4ADD1B876E93}"/>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3" name="Footer Placeholder 2">
            <a:extLst>
              <a:ext uri="{FF2B5EF4-FFF2-40B4-BE49-F238E27FC236}">
                <a16:creationId xmlns:a16="http://schemas.microsoft.com/office/drawing/2014/main" id="{C6393A0A-1D39-46EF-A1BD-EE93B14420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4144BA-8912-4849-BE61-204EF6940F96}"/>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3052474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1FADD-4326-4778-A5A0-6CF7AB1F68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E52E30-4841-41F1-860E-0D64B53991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7A6F8E7-6B99-484B-A28A-11891DE083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E454AB-80CB-428F-8042-0B0A8D9015FD}"/>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6" name="Footer Placeholder 5">
            <a:extLst>
              <a:ext uri="{FF2B5EF4-FFF2-40B4-BE49-F238E27FC236}">
                <a16:creationId xmlns:a16="http://schemas.microsoft.com/office/drawing/2014/main" id="{AAC56C86-6130-4267-9227-509F9E796B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0DBC02-A824-4FFD-9E04-481AD1C11C28}"/>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3827208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3D9E7-B8C0-4B9C-B5D5-0D9FC55EC4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C8ADC8-105C-49C4-B2E3-C0926BE971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79614C9-8848-451B-ADFD-25AA7FD31F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D64F94E-3AEB-4D68-A0FB-FFB761F82CA7}"/>
              </a:ext>
            </a:extLst>
          </p:cNvPr>
          <p:cNvSpPr>
            <a:spLocks noGrp="1"/>
          </p:cNvSpPr>
          <p:nvPr>
            <p:ph type="dt" sz="half" idx="10"/>
          </p:nvPr>
        </p:nvSpPr>
        <p:spPr/>
        <p:txBody>
          <a:bodyPr/>
          <a:lstStyle/>
          <a:p>
            <a:fld id="{CA79D7A5-F9B2-4C48-B091-2D415C25B15B}" type="datetimeFigureOut">
              <a:rPr lang="en-US" smtClean="0"/>
              <a:t>5/8/2019</a:t>
            </a:fld>
            <a:endParaRPr lang="en-US"/>
          </a:p>
        </p:txBody>
      </p:sp>
      <p:sp>
        <p:nvSpPr>
          <p:cNvPr id="6" name="Footer Placeholder 5">
            <a:extLst>
              <a:ext uri="{FF2B5EF4-FFF2-40B4-BE49-F238E27FC236}">
                <a16:creationId xmlns:a16="http://schemas.microsoft.com/office/drawing/2014/main" id="{2E994028-11DC-4D45-B657-CBA1A6968D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4D612C-9750-4D30-A6D0-6BD2DA9B0BF4}"/>
              </a:ext>
            </a:extLst>
          </p:cNvPr>
          <p:cNvSpPr>
            <a:spLocks noGrp="1"/>
          </p:cNvSpPr>
          <p:nvPr>
            <p:ph type="sldNum" sz="quarter" idx="12"/>
          </p:nvPr>
        </p:nvSpPr>
        <p:spPr/>
        <p:txBody>
          <a:bodyPr/>
          <a:lstStyle/>
          <a:p>
            <a:fld id="{11E23207-4670-476B-B3F5-71AF5EF578FA}" type="slidenum">
              <a:rPr lang="en-US" smtClean="0"/>
              <a:t>‹#›</a:t>
            </a:fld>
            <a:endParaRPr lang="en-US"/>
          </a:p>
        </p:txBody>
      </p:sp>
    </p:spTree>
    <p:extLst>
      <p:ext uri="{BB962C8B-B14F-4D97-AF65-F5344CB8AC3E}">
        <p14:creationId xmlns:p14="http://schemas.microsoft.com/office/powerpoint/2010/main" val="5455930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theme" Target="../theme/theme2.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image" Target="../media/image4.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8B1AD5-053D-4B53-88E9-5E45D9738F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ACC504-1203-4741-B769-E4A3A9DF8E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8BF3B-931B-4ADD-A2E5-45FA333B8A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79D7A5-F9B2-4C48-B091-2D415C25B15B}" type="datetimeFigureOut">
              <a:rPr lang="en-US" smtClean="0"/>
              <a:t>5/8/2019</a:t>
            </a:fld>
            <a:endParaRPr lang="en-US"/>
          </a:p>
        </p:txBody>
      </p:sp>
      <p:sp>
        <p:nvSpPr>
          <p:cNvPr id="5" name="Footer Placeholder 4">
            <a:extLst>
              <a:ext uri="{FF2B5EF4-FFF2-40B4-BE49-F238E27FC236}">
                <a16:creationId xmlns:a16="http://schemas.microsoft.com/office/drawing/2014/main" id="{5BCE9A25-793C-4001-B22D-91B1A3C63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8355B70-B6D1-4068-8B56-7D8EFADA75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E23207-4670-476B-B3F5-71AF5EF578FA}" type="slidenum">
              <a:rPr lang="en-US" smtClean="0"/>
              <a:t>‹#›</a:t>
            </a:fld>
            <a:endParaRPr lang="en-US"/>
          </a:p>
        </p:txBody>
      </p:sp>
    </p:spTree>
    <p:extLst>
      <p:ext uri="{BB962C8B-B14F-4D97-AF65-F5344CB8AC3E}">
        <p14:creationId xmlns:p14="http://schemas.microsoft.com/office/powerpoint/2010/main" val="1485012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1"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0" cy="127874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0021777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Lst>
  <p:transition>
    <p:fade/>
  </p:transition>
  <p:txStyles>
    <p:titleStyle>
      <a:lvl1pPr algn="l" defTabSz="685823" rtl="0" eaLnBrk="1" latinLnBrk="0" hangingPunct="1">
        <a:lnSpc>
          <a:spcPct val="90000"/>
        </a:lnSpc>
        <a:spcBef>
          <a:spcPct val="0"/>
        </a:spcBef>
        <a:buNone/>
        <a:defRPr lang="en-US" sz="2942" b="0" kern="1200" cap="none" spc="-75" baseline="0" dirty="0" smtClean="0">
          <a:ln w="3175">
            <a:noFill/>
          </a:ln>
          <a:solidFill>
            <a:schemeClr val="tx2"/>
          </a:solidFill>
          <a:effectLst/>
          <a:latin typeface="+mj-lt"/>
          <a:ea typeface="+mn-ea"/>
          <a:cs typeface="Segoe UI" pitchFamily="34" charset="0"/>
        </a:defRPr>
      </a:lvl1pPr>
    </p:titleStyle>
    <p:bodyStyle>
      <a:lvl1pPr marL="252127" marR="0" indent="-252127" algn="l" defTabSz="6858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j-lt"/>
          <a:ea typeface="+mn-ea"/>
          <a:cs typeface="+mn-cs"/>
        </a:defRPr>
      </a:lvl1pPr>
      <a:lvl2pPr marL="429549" marR="0" indent="-177422" algn="l" defTabSz="68582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2pPr>
      <a:lvl3pPr marL="588295" marR="0" indent="-168084" algn="l" defTabSz="685823" rtl="0" eaLnBrk="1" fontAlgn="auto" latinLnBrk="0" hangingPunct="1">
        <a:lnSpc>
          <a:spcPct val="90000"/>
        </a:lnSpc>
        <a:spcBef>
          <a:spcPct val="20000"/>
        </a:spcBef>
        <a:spcAft>
          <a:spcPts val="0"/>
        </a:spcAft>
        <a:buClrTx/>
        <a:buSzPct val="90000"/>
        <a:buFont typeface="Arial" pitchFamily="34" charset="0"/>
        <a:buChar char="•"/>
        <a:tabLst/>
        <a:defRPr sz="1177" kern="1200" spc="0" baseline="0">
          <a:gradFill>
            <a:gsLst>
              <a:gs pos="1250">
                <a:schemeClr val="tx1"/>
              </a:gs>
              <a:gs pos="100000">
                <a:schemeClr val="tx1"/>
              </a:gs>
            </a:gsLst>
            <a:lin ang="5400000" scaled="0"/>
          </a:gradFill>
          <a:latin typeface="+mn-lt"/>
          <a:ea typeface="+mn-ea"/>
          <a:cs typeface="+mn-cs"/>
        </a:defRPr>
      </a:lvl3pPr>
      <a:lvl4pPr marL="756379" marR="0" indent="-168084" algn="l" defTabSz="685823" rtl="0" eaLnBrk="1" fontAlgn="auto" latinLnBrk="0" hangingPunct="1">
        <a:lnSpc>
          <a:spcPct val="90000"/>
        </a:lnSpc>
        <a:spcBef>
          <a:spcPct val="20000"/>
        </a:spcBef>
        <a:spcAft>
          <a:spcPts val="0"/>
        </a:spcAft>
        <a:buClrTx/>
        <a:buSzPct val="90000"/>
        <a:buFont typeface="Arial" pitchFamily="34" charset="0"/>
        <a:buChar char="•"/>
        <a:tabLst/>
        <a:defRPr sz="1030" kern="1200" spc="0" baseline="0">
          <a:gradFill>
            <a:gsLst>
              <a:gs pos="1250">
                <a:schemeClr val="tx1"/>
              </a:gs>
              <a:gs pos="100000">
                <a:schemeClr val="tx1"/>
              </a:gs>
            </a:gsLst>
            <a:lin ang="5400000" scaled="0"/>
          </a:gradFill>
          <a:latin typeface="+mn-lt"/>
          <a:ea typeface="+mn-ea"/>
          <a:cs typeface="+mn-cs"/>
        </a:defRPr>
      </a:lvl4pPr>
      <a:lvl5pPr marL="924463" marR="0" indent="-168084" algn="l" defTabSz="685823" rtl="0" eaLnBrk="1" fontAlgn="auto" latinLnBrk="0" hangingPunct="1">
        <a:lnSpc>
          <a:spcPct val="90000"/>
        </a:lnSpc>
        <a:spcBef>
          <a:spcPct val="20000"/>
        </a:spcBef>
        <a:spcAft>
          <a:spcPts val="0"/>
        </a:spcAft>
        <a:buClrTx/>
        <a:buSzPct val="90000"/>
        <a:buFont typeface="Arial" pitchFamily="34" charset="0"/>
        <a:buChar char="•"/>
        <a:tabLst/>
        <a:defRPr sz="1030" kern="1200" spc="0" baseline="0">
          <a:gradFill>
            <a:gsLst>
              <a:gs pos="1250">
                <a:schemeClr val="tx1"/>
              </a:gs>
              <a:gs pos="100000">
                <a:schemeClr val="tx1"/>
              </a:gs>
            </a:gsLst>
            <a:lin ang="5400000" scaled="0"/>
          </a:gradFill>
          <a:latin typeface="+mn-lt"/>
          <a:ea typeface="+mn-ea"/>
          <a:cs typeface="+mn-cs"/>
        </a:defRPr>
      </a:lvl5pPr>
      <a:lvl6pPr marL="1886014"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28"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39"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2" indent="-171456" algn="l" defTabSz="68582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3" rtl="0" eaLnBrk="1" latinLnBrk="0" hangingPunct="1">
        <a:defRPr sz="1324" kern="1200">
          <a:solidFill>
            <a:schemeClr val="tx1"/>
          </a:solidFill>
          <a:latin typeface="+mn-lt"/>
          <a:ea typeface="+mn-ea"/>
          <a:cs typeface="+mn-cs"/>
        </a:defRPr>
      </a:lvl1pPr>
      <a:lvl2pPr marL="342912" algn="l" defTabSz="685823" rtl="0" eaLnBrk="1" latinLnBrk="0" hangingPunct="1">
        <a:defRPr sz="1324" kern="1200">
          <a:solidFill>
            <a:schemeClr val="tx1"/>
          </a:solidFill>
          <a:latin typeface="+mn-lt"/>
          <a:ea typeface="+mn-ea"/>
          <a:cs typeface="+mn-cs"/>
        </a:defRPr>
      </a:lvl2pPr>
      <a:lvl3pPr marL="685823" algn="l" defTabSz="685823" rtl="0" eaLnBrk="1" latinLnBrk="0" hangingPunct="1">
        <a:defRPr sz="1324" kern="1200">
          <a:solidFill>
            <a:schemeClr val="tx1"/>
          </a:solidFill>
          <a:latin typeface="+mn-lt"/>
          <a:ea typeface="+mn-ea"/>
          <a:cs typeface="+mn-cs"/>
        </a:defRPr>
      </a:lvl3pPr>
      <a:lvl4pPr marL="1028736" algn="l" defTabSz="685823" rtl="0" eaLnBrk="1" latinLnBrk="0" hangingPunct="1">
        <a:defRPr sz="1324" kern="1200">
          <a:solidFill>
            <a:schemeClr val="tx1"/>
          </a:solidFill>
          <a:latin typeface="+mn-lt"/>
          <a:ea typeface="+mn-ea"/>
          <a:cs typeface="+mn-cs"/>
        </a:defRPr>
      </a:lvl4pPr>
      <a:lvl5pPr marL="1371647" algn="l" defTabSz="685823" rtl="0" eaLnBrk="1" latinLnBrk="0" hangingPunct="1">
        <a:defRPr sz="1324" kern="1200">
          <a:solidFill>
            <a:schemeClr val="tx1"/>
          </a:solidFill>
          <a:latin typeface="+mn-lt"/>
          <a:ea typeface="+mn-ea"/>
          <a:cs typeface="+mn-cs"/>
        </a:defRPr>
      </a:lvl5pPr>
      <a:lvl6pPr marL="1714560" algn="l" defTabSz="685823" rtl="0" eaLnBrk="1" latinLnBrk="0" hangingPunct="1">
        <a:defRPr sz="1324" kern="1200">
          <a:solidFill>
            <a:schemeClr val="tx1"/>
          </a:solidFill>
          <a:latin typeface="+mn-lt"/>
          <a:ea typeface="+mn-ea"/>
          <a:cs typeface="+mn-cs"/>
        </a:defRPr>
      </a:lvl6pPr>
      <a:lvl7pPr marL="2057471" algn="l" defTabSz="685823" rtl="0" eaLnBrk="1" latinLnBrk="0" hangingPunct="1">
        <a:defRPr sz="1324" kern="1200">
          <a:solidFill>
            <a:schemeClr val="tx1"/>
          </a:solidFill>
          <a:latin typeface="+mn-lt"/>
          <a:ea typeface="+mn-ea"/>
          <a:cs typeface="+mn-cs"/>
        </a:defRPr>
      </a:lvl7pPr>
      <a:lvl8pPr marL="2400383" algn="l" defTabSz="685823" rtl="0" eaLnBrk="1" latinLnBrk="0" hangingPunct="1">
        <a:defRPr sz="1324" kern="1200">
          <a:solidFill>
            <a:schemeClr val="tx1"/>
          </a:solidFill>
          <a:latin typeface="+mn-lt"/>
          <a:ea typeface="+mn-ea"/>
          <a:cs typeface="+mn-cs"/>
        </a:defRPr>
      </a:lvl8pPr>
      <a:lvl9pPr marL="2743296" algn="l" defTabSz="685823"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ew@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hyperlink" Target="https://studio.azureml.net/"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9DC8694-76C2-4AAE-A823-D17681315D3A}"/>
              </a:ext>
            </a:extLst>
          </p:cNvPr>
          <p:cNvSpPr>
            <a:spLocks noGrp="1"/>
          </p:cNvSpPr>
          <p:nvPr>
            <p:ph type="body" sz="quarter" idx="10"/>
          </p:nvPr>
        </p:nvSpPr>
        <p:spPr>
          <a:xfrm>
            <a:off x="550931" y="2226407"/>
            <a:ext cx="5734122" cy="3620211"/>
          </a:xfrm>
        </p:spPr>
        <p:txBody>
          <a:bodyPr/>
          <a:lstStyle/>
          <a:p>
            <a:r>
              <a:rPr lang="en-US" sz="4000" dirty="0"/>
              <a:t>Welcome</a:t>
            </a:r>
            <a:br>
              <a:rPr lang="en-US" sz="4000" dirty="0"/>
            </a:br>
            <a:endParaRPr lang="en-US" sz="4000" dirty="0"/>
          </a:p>
          <a:p>
            <a:endParaRPr lang="en-US" dirty="0"/>
          </a:p>
          <a:p>
            <a:endParaRPr lang="en-US" dirty="0"/>
          </a:p>
          <a:p>
            <a:endParaRPr lang="en-US" dirty="0"/>
          </a:p>
          <a:p>
            <a:r>
              <a:rPr lang="en-US" sz="2400" dirty="0" err="1"/>
              <a:t>WiFi</a:t>
            </a:r>
            <a:r>
              <a:rPr lang="en-US" sz="2400" dirty="0"/>
              <a:t> – </a:t>
            </a:r>
            <a:r>
              <a:rPr lang="en-US" sz="2400" dirty="0" err="1"/>
              <a:t>MSFTGuest</a:t>
            </a:r>
            <a:endParaRPr lang="en-US" sz="2400" dirty="0"/>
          </a:p>
          <a:p>
            <a:r>
              <a:rPr lang="en-US" sz="2400" dirty="0"/>
              <a:t>Event Code – </a:t>
            </a:r>
            <a:r>
              <a:rPr lang="en-US" b="1" dirty="0"/>
              <a:t>msevent362dc</a:t>
            </a:r>
            <a:endParaRPr lang="en-US" sz="2400" dirty="0"/>
          </a:p>
          <a:p>
            <a:r>
              <a:rPr lang="en-US" sz="2000" dirty="0"/>
              <a:t>Dave Wentzel (</a:t>
            </a:r>
            <a:r>
              <a:rPr lang="en-US" sz="2000" dirty="0">
                <a:hlinkClick r:id="rId3"/>
              </a:rPr>
              <a:t>davew@microsoft.com</a:t>
            </a:r>
            <a:r>
              <a:rPr lang="en-US" sz="2000" dirty="0"/>
              <a:t>)</a:t>
            </a:r>
          </a:p>
          <a:p>
            <a:r>
              <a:rPr lang="en-US" sz="2000" dirty="0"/>
              <a:t>James Stento (james.stento@Microsoft.com)</a:t>
            </a:r>
            <a:endParaRPr lang="en-US" sz="1800" dirty="0"/>
          </a:p>
          <a:p>
            <a:endParaRPr lang="en-US" sz="2400" dirty="0"/>
          </a:p>
        </p:txBody>
      </p:sp>
    </p:spTree>
    <p:extLst>
      <p:ext uri="{BB962C8B-B14F-4D97-AF65-F5344CB8AC3E}">
        <p14:creationId xmlns:p14="http://schemas.microsoft.com/office/powerpoint/2010/main" val="23639636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1725683" y="888770"/>
            <a:ext cx="8740638" cy="4585382"/>
          </a:xfrm>
        </p:spPr>
        <p:txBody>
          <a:bodyPr/>
          <a:lstStyle/>
          <a:p>
            <a:r>
              <a:rPr lang="en-US" sz="2059" b="1" dirty="0"/>
              <a:t>Training Data </a:t>
            </a:r>
            <a:r>
              <a:rPr lang="en-US" sz="2059" dirty="0"/>
              <a:t>: A set of samples (table of data)</a:t>
            </a:r>
          </a:p>
          <a:p>
            <a:r>
              <a:rPr lang="en-US" sz="2059" b="1" dirty="0"/>
              <a:t>Testing Data</a:t>
            </a:r>
            <a:r>
              <a:rPr lang="en-US" sz="2059" dirty="0"/>
              <a:t>:  A set of samples (training data) set aside to test your model</a:t>
            </a:r>
          </a:p>
          <a:p>
            <a:r>
              <a:rPr lang="en-US" sz="2059" b="1" dirty="0"/>
              <a:t>Features</a:t>
            </a:r>
            <a:r>
              <a:rPr lang="en-US" sz="2059" dirty="0"/>
              <a:t>: Individual columns in our data set.  These might be used to help make our prediction, or not.  </a:t>
            </a:r>
          </a:p>
          <a:p>
            <a:r>
              <a:rPr lang="en-US" sz="2059" b="1" dirty="0"/>
              <a:t>	Factors:  </a:t>
            </a:r>
            <a:r>
              <a:rPr lang="en-US" sz="2059" dirty="0"/>
              <a:t>aka features</a:t>
            </a:r>
          </a:p>
          <a:p>
            <a:r>
              <a:rPr lang="en-US" sz="2059" b="1" dirty="0"/>
              <a:t>	Categorical Features</a:t>
            </a:r>
            <a:r>
              <a:rPr lang="en-US" sz="2059" dirty="0"/>
              <a:t>:  features with a known domain of values</a:t>
            </a:r>
          </a:p>
          <a:p>
            <a:r>
              <a:rPr lang="en-US" sz="2059" dirty="0"/>
              <a:t>	</a:t>
            </a:r>
            <a:r>
              <a:rPr lang="en-US" sz="2059" b="1" dirty="0"/>
              <a:t>independent variables</a:t>
            </a:r>
            <a:r>
              <a:rPr lang="en-US" sz="2059" dirty="0"/>
              <a:t>:  aka features</a:t>
            </a:r>
          </a:p>
          <a:p>
            <a:r>
              <a:rPr lang="en-US" sz="2059" b="1" dirty="0"/>
              <a:t>Feature Engineering</a:t>
            </a:r>
            <a:r>
              <a:rPr lang="en-US" sz="2059" dirty="0"/>
              <a:t>:  manipulating existing data to make it more meaningful</a:t>
            </a:r>
          </a:p>
          <a:p>
            <a:r>
              <a:rPr lang="en-US" sz="2059" dirty="0"/>
              <a:t>	very similar to ETL</a:t>
            </a:r>
          </a:p>
          <a:p>
            <a:r>
              <a:rPr lang="en-US" sz="2059" dirty="0"/>
              <a:t>	</a:t>
            </a:r>
            <a:r>
              <a:rPr lang="en-US" sz="2059" b="1" dirty="0"/>
              <a:t>Data Wrangling/Munging</a:t>
            </a:r>
            <a:r>
              <a:rPr lang="en-US" sz="2059" dirty="0"/>
              <a:t>:  ETL</a:t>
            </a:r>
          </a:p>
          <a:p>
            <a:r>
              <a:rPr lang="en-US" sz="2059" b="1" dirty="0"/>
              <a:t>Label</a:t>
            </a:r>
            <a:r>
              <a:rPr lang="en-US" sz="2059" dirty="0"/>
              <a:t>: Historical outcome or result related to a set of samples.  </a:t>
            </a:r>
          </a:p>
          <a:p>
            <a:r>
              <a:rPr lang="en-US" sz="2059" dirty="0"/>
              <a:t>	What you are trying to predict. </a:t>
            </a:r>
          </a:p>
          <a:p>
            <a:r>
              <a:rPr lang="en-US" sz="2059" dirty="0"/>
              <a:t>	aka, “the target” or “the dependent variable”, or “response”</a:t>
            </a:r>
          </a:p>
        </p:txBody>
      </p:sp>
    </p:spTree>
    <p:extLst>
      <p:ext uri="{BB962C8B-B14F-4D97-AF65-F5344CB8AC3E}">
        <p14:creationId xmlns:p14="http://schemas.microsoft.com/office/powerpoint/2010/main" val="15988279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rminology</a:t>
            </a:r>
          </a:p>
        </p:txBody>
      </p:sp>
      <p:sp>
        <p:nvSpPr>
          <p:cNvPr id="5" name="Text Placeholder 4"/>
          <p:cNvSpPr>
            <a:spLocks noGrp="1"/>
          </p:cNvSpPr>
          <p:nvPr>
            <p:ph type="body" sz="quarter" idx="10"/>
          </p:nvPr>
        </p:nvSpPr>
        <p:spPr>
          <a:xfrm>
            <a:off x="1725683" y="888770"/>
            <a:ext cx="8740638" cy="5983433"/>
          </a:xfrm>
        </p:spPr>
        <p:txBody>
          <a:bodyPr/>
          <a:lstStyle/>
          <a:p>
            <a:r>
              <a:rPr lang="en-US" sz="2059" b="1" dirty="0"/>
              <a:t>Learner</a:t>
            </a:r>
            <a:r>
              <a:rPr lang="en-US" sz="2059" dirty="0"/>
              <a:t>: Machine learning algorithm</a:t>
            </a:r>
          </a:p>
          <a:p>
            <a:r>
              <a:rPr lang="en-US" sz="2059" b="1" dirty="0"/>
              <a:t>Supervised Learning</a:t>
            </a:r>
            <a:r>
              <a:rPr lang="en-US" sz="2059" dirty="0"/>
              <a:t>:  we know the label (”will this loan </a:t>
            </a:r>
            <a:r>
              <a:rPr lang="en-US" sz="2059" dirty="0" err="1"/>
              <a:t>chargeoff</a:t>
            </a:r>
            <a:r>
              <a:rPr lang="en-US" sz="2059" dirty="0"/>
              <a:t>?”)</a:t>
            </a:r>
          </a:p>
          <a:p>
            <a:r>
              <a:rPr lang="en-US" sz="2059" dirty="0"/>
              <a:t>	you “train” these models with training and test data</a:t>
            </a:r>
          </a:p>
          <a:p>
            <a:r>
              <a:rPr lang="en-US" sz="2059" b="1" dirty="0"/>
              <a:t>Unsupervised Learning</a:t>
            </a:r>
            <a:r>
              <a:rPr lang="en-US" sz="2059" dirty="0"/>
              <a:t>:  we don’t know the label (“Recommendation engines”)</a:t>
            </a:r>
          </a:p>
          <a:p>
            <a:r>
              <a:rPr lang="en-US" sz="2059" dirty="0"/>
              <a:t>	the learner tries to find patterns</a:t>
            </a:r>
          </a:p>
          <a:p>
            <a:r>
              <a:rPr lang="en-US" sz="2059" dirty="0"/>
              <a:t>	ex:  anomaly detection, clustering</a:t>
            </a:r>
          </a:p>
          <a:p>
            <a:endParaRPr lang="en-US" sz="2059" dirty="0"/>
          </a:p>
          <a:p>
            <a:r>
              <a:rPr lang="en-US" sz="2059" dirty="0"/>
              <a:t>Correlation vs Causation:  ML *cannot* tell what caused what</a:t>
            </a:r>
          </a:p>
          <a:p>
            <a:endParaRPr lang="en-US" sz="2059" dirty="0"/>
          </a:p>
          <a:p>
            <a:r>
              <a:rPr lang="en-US" sz="2059" b="1" dirty="0"/>
              <a:t>Leakage</a:t>
            </a:r>
          </a:p>
          <a:p>
            <a:r>
              <a:rPr lang="en-US" sz="2059" dirty="0"/>
              <a:t>	you accidentally used the response to predict the response</a:t>
            </a:r>
          </a:p>
          <a:p>
            <a:r>
              <a:rPr lang="en-US" sz="2059" dirty="0"/>
              <a:t>	(you used the answer to predict the answer)	</a:t>
            </a:r>
          </a:p>
          <a:p>
            <a:r>
              <a:rPr lang="en-US" sz="2059" dirty="0"/>
              <a:t>	ex:  you use GPA to predict if a student will fail</a:t>
            </a:r>
          </a:p>
          <a:p>
            <a:r>
              <a:rPr lang="en-US" sz="2059" dirty="0"/>
              <a:t>	these are often “masked” or “derived” and are hard to find</a:t>
            </a:r>
          </a:p>
          <a:p>
            <a:r>
              <a:rPr lang="en-US" sz="2059" dirty="0"/>
              <a:t>	happens possibly when your “relative influence” gets to high (70%?)</a:t>
            </a:r>
          </a:p>
          <a:p>
            <a:r>
              <a:rPr lang="en-US" sz="2059" dirty="0"/>
              <a:t>	</a:t>
            </a:r>
          </a:p>
        </p:txBody>
      </p:sp>
    </p:spTree>
    <p:extLst>
      <p:ext uri="{BB962C8B-B14F-4D97-AF65-F5344CB8AC3E}">
        <p14:creationId xmlns:p14="http://schemas.microsoft.com/office/powerpoint/2010/main" val="565561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735553" y="2084287"/>
            <a:ext cx="8740638" cy="4260980"/>
          </a:xfrm>
        </p:spPr>
        <p:txBody>
          <a:bodyPr/>
          <a:lstStyle/>
          <a:p>
            <a:pPr marL="448285" indent="-448285">
              <a:spcBef>
                <a:spcPts val="2206"/>
              </a:spcBef>
              <a:buAutoNum type="arabicPeriod"/>
            </a:pPr>
            <a:r>
              <a:rPr lang="en-US" sz="2059" dirty="0"/>
              <a:t>How much / how many? </a:t>
            </a:r>
            <a:r>
              <a:rPr lang="en-US" sz="2059" b="1" dirty="0">
                <a:solidFill>
                  <a:schemeClr val="tx2"/>
                </a:solidFill>
              </a:rPr>
              <a:t>Regression</a:t>
            </a:r>
          </a:p>
          <a:p>
            <a:pPr>
              <a:spcBef>
                <a:spcPts val="2206"/>
              </a:spcBef>
            </a:pPr>
            <a:r>
              <a:rPr lang="en-US" sz="2059" b="1" dirty="0">
                <a:solidFill>
                  <a:schemeClr val="tx2"/>
                </a:solidFill>
              </a:rPr>
              <a:t>	supervised.  ”Given my past sales, what will my sales be next quarter”</a:t>
            </a:r>
          </a:p>
          <a:p>
            <a:pPr>
              <a:spcBef>
                <a:spcPts val="2206"/>
              </a:spcBef>
            </a:pPr>
            <a:r>
              <a:rPr lang="en-US" sz="2059" dirty="0"/>
              <a:t>2. Which category? </a:t>
            </a:r>
            <a:r>
              <a:rPr lang="en-US" sz="2059" b="1" dirty="0">
                <a:solidFill>
                  <a:schemeClr val="tx2"/>
                </a:solidFill>
              </a:rPr>
              <a:t>Classification</a:t>
            </a:r>
          </a:p>
          <a:p>
            <a:pPr>
              <a:spcBef>
                <a:spcPts val="2206"/>
              </a:spcBef>
            </a:pPr>
            <a:r>
              <a:rPr lang="en-US" sz="2059" b="1" dirty="0">
                <a:solidFill>
                  <a:schemeClr val="tx2"/>
                </a:solidFill>
              </a:rPr>
              <a:t>	supervised.  “Will this loan </a:t>
            </a:r>
            <a:r>
              <a:rPr lang="en-US" sz="2059" b="1" dirty="0" err="1">
                <a:solidFill>
                  <a:schemeClr val="tx2"/>
                </a:solidFill>
              </a:rPr>
              <a:t>chargeoff</a:t>
            </a:r>
            <a:r>
              <a:rPr lang="en-US" sz="2059" b="1" dirty="0">
                <a:solidFill>
                  <a:schemeClr val="tx2"/>
                </a:solidFill>
              </a:rPr>
              <a:t>”</a:t>
            </a:r>
          </a:p>
          <a:p>
            <a:pPr>
              <a:spcBef>
                <a:spcPts val="2206"/>
              </a:spcBef>
            </a:pPr>
            <a:r>
              <a:rPr lang="en-US" sz="2059" dirty="0"/>
              <a:t>3. Which groups? </a:t>
            </a:r>
            <a:r>
              <a:rPr lang="en-US" sz="2059" b="1" dirty="0">
                <a:solidFill>
                  <a:schemeClr val="tx2"/>
                </a:solidFill>
              </a:rPr>
              <a:t>Clustering</a:t>
            </a:r>
          </a:p>
          <a:p>
            <a:pPr>
              <a:spcBef>
                <a:spcPts val="2206"/>
              </a:spcBef>
            </a:pPr>
            <a:r>
              <a:rPr lang="en-US" sz="2059" dirty="0"/>
              <a:t>4. Is it weird? </a:t>
            </a:r>
            <a:r>
              <a:rPr lang="en-US" sz="2059" b="1" dirty="0">
                <a:solidFill>
                  <a:schemeClr val="tx2"/>
                </a:solidFill>
              </a:rPr>
              <a:t>Anomaly Detection</a:t>
            </a:r>
          </a:p>
          <a:p>
            <a:pPr>
              <a:spcBef>
                <a:spcPts val="2206"/>
              </a:spcBef>
            </a:pPr>
            <a:r>
              <a:rPr lang="en-US" sz="2059" dirty="0"/>
              <a:t>5. Which option? </a:t>
            </a:r>
            <a:r>
              <a:rPr lang="en-US" sz="2059" b="1" dirty="0">
                <a:solidFill>
                  <a:schemeClr val="tx2"/>
                </a:solidFill>
              </a:rPr>
              <a:t>Recommendation</a:t>
            </a:r>
          </a:p>
          <a:p>
            <a:endParaRPr lang="en-US" sz="2059" dirty="0"/>
          </a:p>
        </p:txBody>
      </p:sp>
      <p:sp>
        <p:nvSpPr>
          <p:cNvPr id="4" name="Title 3"/>
          <p:cNvSpPr>
            <a:spLocks noGrp="1"/>
          </p:cNvSpPr>
          <p:nvPr>
            <p:ph type="title"/>
          </p:nvPr>
        </p:nvSpPr>
        <p:spPr>
          <a:xfrm>
            <a:off x="1725683" y="1074585"/>
            <a:ext cx="8742376" cy="674692"/>
          </a:xfrm>
        </p:spPr>
        <p:txBody>
          <a:bodyPr/>
          <a:lstStyle/>
          <a:p>
            <a:r>
              <a:rPr lang="en-US"/>
              <a:t>Data science </a:t>
            </a:r>
            <a:r>
              <a:rPr lang="en-US" dirty="0"/>
              <a:t>questions</a:t>
            </a:r>
          </a:p>
        </p:txBody>
      </p:sp>
    </p:spTree>
    <p:extLst>
      <p:ext uri="{BB962C8B-B14F-4D97-AF65-F5344CB8AC3E}">
        <p14:creationId xmlns:p14="http://schemas.microsoft.com/office/powerpoint/2010/main" val="1872621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793018" y="1093302"/>
            <a:ext cx="8605965" cy="674787"/>
          </a:xfrm>
        </p:spPr>
        <p:txBody>
          <a:bodyPr>
            <a:normAutofit fontScale="90000"/>
          </a:bodyPr>
          <a:lstStyle/>
          <a:p>
            <a:r>
              <a:rPr lang="en-US" dirty="0"/>
              <a:t>Azure ML</a:t>
            </a:r>
          </a:p>
        </p:txBody>
      </p:sp>
      <p:sp>
        <p:nvSpPr>
          <p:cNvPr id="6" name="Text Placeholder 5"/>
          <p:cNvSpPr>
            <a:spLocks noGrp="1"/>
          </p:cNvSpPr>
          <p:nvPr>
            <p:ph type="body" sz="quarter" idx="10"/>
          </p:nvPr>
        </p:nvSpPr>
        <p:spPr>
          <a:xfrm>
            <a:off x="1793018" y="1768088"/>
            <a:ext cx="8605965" cy="633527"/>
          </a:xfrm>
        </p:spPr>
        <p:txBody>
          <a:bodyPr/>
          <a:lstStyle/>
          <a:p>
            <a:pPr lvl="1"/>
            <a:endParaRPr lang="en-US" sz="1800" dirty="0"/>
          </a:p>
          <a:p>
            <a:pPr lvl="1"/>
            <a:endParaRPr lang="en-US" sz="1200" dirty="0"/>
          </a:p>
        </p:txBody>
      </p:sp>
      <p:pic>
        <p:nvPicPr>
          <p:cNvPr id="2" name="Picture 1"/>
          <p:cNvPicPr>
            <a:picLocks noChangeAspect="1"/>
          </p:cNvPicPr>
          <p:nvPr/>
        </p:nvPicPr>
        <p:blipFill>
          <a:blip r:embed="rId3"/>
          <a:stretch>
            <a:fillRect/>
          </a:stretch>
        </p:blipFill>
        <p:spPr>
          <a:xfrm>
            <a:off x="2419904" y="1768088"/>
            <a:ext cx="6914950" cy="4104708"/>
          </a:xfrm>
          <a:prstGeom prst="rect">
            <a:avLst/>
          </a:prstGeom>
        </p:spPr>
      </p:pic>
    </p:spTree>
    <p:extLst>
      <p:ext uri="{BB962C8B-B14F-4D97-AF65-F5344CB8AC3E}">
        <p14:creationId xmlns:p14="http://schemas.microsoft.com/office/powerpoint/2010/main" val="271901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00018" y="1496507"/>
            <a:ext cx="7887147" cy="2139675"/>
          </a:xfrm>
        </p:spPr>
        <p:txBody>
          <a:bodyPr/>
          <a:lstStyle/>
          <a:p>
            <a:pPr algn="ctr"/>
            <a:r>
              <a:rPr lang="en-US" dirty="0"/>
              <a:t>Azure Machine Learning </a:t>
            </a:r>
            <a:br>
              <a:rPr lang="en-US" dirty="0"/>
            </a:br>
            <a:r>
              <a:rPr lang="en-US" dirty="0"/>
              <a:t>– Studio</a:t>
            </a:r>
          </a:p>
        </p:txBody>
      </p:sp>
      <p:sp>
        <p:nvSpPr>
          <p:cNvPr id="5" name="Text Placeholder 4"/>
          <p:cNvSpPr>
            <a:spLocks noGrp="1"/>
          </p:cNvSpPr>
          <p:nvPr>
            <p:ph type="body" idx="1"/>
          </p:nvPr>
        </p:nvSpPr>
        <p:spPr/>
        <p:txBody>
          <a:bodyPr/>
          <a:lstStyle/>
          <a:p>
            <a:pPr algn="ctr"/>
            <a:r>
              <a:rPr lang="en-US" sz="3000" dirty="0">
                <a:hlinkClick r:id="rId3"/>
              </a:rPr>
              <a:t>https://studio.azureml.net</a:t>
            </a:r>
            <a:endParaRPr lang="en-US" sz="3000" dirty="0"/>
          </a:p>
          <a:p>
            <a:pPr algn="ctr"/>
            <a:endParaRPr lang="en-US" dirty="0"/>
          </a:p>
        </p:txBody>
      </p:sp>
    </p:spTree>
    <p:extLst>
      <p:ext uri="{BB962C8B-B14F-4D97-AF65-F5344CB8AC3E}">
        <p14:creationId xmlns:p14="http://schemas.microsoft.com/office/powerpoint/2010/main" val="1400546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CDB9E3-B379-4F9C-A6BA-03A5C5886050}"/>
              </a:ext>
            </a:extLst>
          </p:cNvPr>
          <p:cNvSpPr>
            <a:spLocks noGrp="1"/>
          </p:cNvSpPr>
          <p:nvPr>
            <p:ph type="title"/>
          </p:nvPr>
        </p:nvSpPr>
        <p:spPr/>
        <p:txBody>
          <a:bodyPr/>
          <a:lstStyle/>
          <a:p>
            <a:r>
              <a:rPr lang="en-US" dirty="0">
                <a:latin typeface="+mn-lt"/>
              </a:rPr>
              <a:t>A Tour of Azure</a:t>
            </a:r>
            <a:br>
              <a:rPr lang="en-US" dirty="0"/>
            </a:br>
            <a:endParaRPr lang="en-US" dirty="0"/>
          </a:p>
        </p:txBody>
      </p:sp>
    </p:spTree>
    <p:extLst>
      <p:ext uri="{BB962C8B-B14F-4D97-AF65-F5344CB8AC3E}">
        <p14:creationId xmlns:p14="http://schemas.microsoft.com/office/powerpoint/2010/main" val="2502048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2849BA90-454E-9B47-8A1A-A258B0B23188}"/>
              </a:ext>
            </a:extLst>
          </p:cNvPr>
          <p:cNvPicPr>
            <a:picLocks noChangeAspect="1"/>
          </p:cNvPicPr>
          <p:nvPr/>
        </p:nvPicPr>
        <p:blipFill>
          <a:blip r:embed="rId3"/>
          <a:stretch>
            <a:fillRect/>
          </a:stretch>
        </p:blipFill>
        <p:spPr>
          <a:xfrm>
            <a:off x="1037150" y="1273809"/>
            <a:ext cx="10417788" cy="5271401"/>
          </a:xfrm>
          <a:prstGeom prst="rect">
            <a:avLst/>
          </a:prstGeom>
        </p:spPr>
      </p:pic>
      <p:sp>
        <p:nvSpPr>
          <p:cNvPr id="9" name="Rectangle 8">
            <a:extLst>
              <a:ext uri="{FF2B5EF4-FFF2-40B4-BE49-F238E27FC236}">
                <a16:creationId xmlns:a16="http://schemas.microsoft.com/office/drawing/2014/main" id="{124933B2-7C65-DC42-982F-3B3714055DEE}"/>
              </a:ext>
            </a:extLst>
          </p:cNvPr>
          <p:cNvSpPr/>
          <p:nvPr/>
        </p:nvSpPr>
        <p:spPr bwMode="auto">
          <a:xfrm>
            <a:off x="4987636" y="2859578"/>
            <a:ext cx="6467301" cy="3685632"/>
          </a:xfrm>
          <a:prstGeom prst="rect">
            <a:avLst/>
          </a:prstGeom>
          <a:solidFill>
            <a:srgbClr val="EAEB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399807DC-AD59-4A4D-A9D7-0136D1271748}"/>
              </a:ext>
            </a:extLst>
          </p:cNvPr>
          <p:cNvSpPr/>
          <p:nvPr/>
        </p:nvSpPr>
        <p:spPr bwMode="auto">
          <a:xfrm>
            <a:off x="7614458" y="2859578"/>
            <a:ext cx="3840479" cy="3685632"/>
          </a:xfrm>
          <a:prstGeom prst="rect">
            <a:avLst/>
          </a:prstGeom>
          <a:solidFill>
            <a:srgbClr val="EAEB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77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xit" presetSubtype="4" fill="hold" grpId="1" nodeType="clickEffect">
                                  <p:stCondLst>
                                    <p:cond delay="0"/>
                                  </p:stCondLst>
                                  <p:childTnLst>
                                    <p:anim calcmode="lin" valueType="num">
                                      <p:cBhvr additive="base">
                                        <p:cTn id="17" dur="500"/>
                                        <p:tgtEl>
                                          <p:spTgt spid="9"/>
                                        </p:tgtEl>
                                        <p:attrNameLst>
                                          <p:attrName>ppt_y</p:attrName>
                                        </p:attrNameLst>
                                      </p:cBhvr>
                                      <p:tavLst>
                                        <p:tav tm="0">
                                          <p:val>
                                            <p:strVal val="#ppt_y"/>
                                          </p:val>
                                        </p:tav>
                                        <p:tav tm="100000">
                                          <p:val>
                                            <p:strVal val="#ppt_y+#ppt_h*1.125000"/>
                                          </p:val>
                                        </p:tav>
                                      </p:tavLst>
                                    </p:anim>
                                    <p:animEffect transition="out" filter="wipe(down)">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2" presetClass="exit" presetSubtype="4" fill="hold" grpId="1" nodeType="clickEffect">
                                  <p:stCondLst>
                                    <p:cond delay="0"/>
                                  </p:stCondLst>
                                  <p:childTnLst>
                                    <p:anim calcmode="lin" valueType="num">
                                      <p:cBhvr additive="base">
                                        <p:cTn id="23" dur="500"/>
                                        <p:tgtEl>
                                          <p:spTgt spid="7"/>
                                        </p:tgtEl>
                                        <p:attrNameLst>
                                          <p:attrName>ppt_y</p:attrName>
                                        </p:attrNameLst>
                                      </p:cBhvr>
                                      <p:tavLst>
                                        <p:tav tm="0">
                                          <p:val>
                                            <p:strVal val="#ppt_y"/>
                                          </p:val>
                                        </p:tav>
                                        <p:tav tm="100000">
                                          <p:val>
                                            <p:strVal val="#ppt_y+#ppt_h*1.125000"/>
                                          </p:val>
                                        </p:tav>
                                      </p:tavLst>
                                    </p:anim>
                                    <p:animEffect transition="out" filter="wipe(down)">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7" grpId="0" animBg="1"/>
      <p:bldP spid="7"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3" name="Straight Connector 12"/>
          <p:cNvCxnSpPr/>
          <p:nvPr/>
        </p:nvCxnSpPr>
        <p:spPr>
          <a:xfrm>
            <a:off x="1" y="3313059"/>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9B20F9EF-3ECE-4922-B5C5-E83DCFEAAEB2}"/>
              </a:ext>
            </a:extLst>
          </p:cNvPr>
          <p:cNvSpPr/>
          <p:nvPr/>
        </p:nvSpPr>
        <p:spPr>
          <a:xfrm>
            <a:off x="320250" y="1105448"/>
            <a:ext cx="7294166" cy="1069845"/>
          </a:xfrm>
          <a:prstGeom prst="rect">
            <a:avLst/>
          </a:prstGeom>
        </p:spPr>
        <p:txBody>
          <a:bodyPr wrap="square" anchor="ctr">
            <a:spAutoFit/>
          </a:bodyPr>
          <a:lstStyle/>
          <a:p>
            <a:pPr defTabSz="895870">
              <a:lnSpc>
                <a:spcPct val="90000"/>
              </a:lnSpc>
              <a:defRPr/>
            </a:pPr>
            <a:r>
              <a:rPr lang="en-US" altLang="en-US" sz="4313">
                <a:gradFill>
                  <a:gsLst>
                    <a:gs pos="12727">
                      <a:srgbClr val="FFFFFF"/>
                    </a:gs>
                    <a:gs pos="52000">
                      <a:srgbClr val="FFFFFF"/>
                    </a:gs>
                  </a:gsLst>
                  <a:lin ang="10800000" scaled="0"/>
                </a:gradFill>
                <a:latin typeface="Segoe UI Light"/>
              </a:rPr>
              <a:t>Azure Cognitive Services</a:t>
            </a:r>
          </a:p>
          <a:p>
            <a:pPr defTabSz="895870">
              <a:lnSpc>
                <a:spcPct val="90000"/>
              </a:lnSpc>
              <a:spcAft>
                <a:spcPts val="1440"/>
              </a:spcAft>
              <a:defRPr/>
            </a:pPr>
            <a:r>
              <a:rPr lang="en-US" sz="2745">
                <a:gradFill>
                  <a:gsLst>
                    <a:gs pos="12727">
                      <a:srgbClr val="FFFFFF"/>
                    </a:gs>
                    <a:gs pos="52000">
                      <a:srgbClr val="FFFFFF"/>
                    </a:gs>
                  </a:gsLst>
                  <a:lin ang="10800000" scaled="0"/>
                </a:gradFill>
                <a:latin typeface="Segoe UI Semilight"/>
              </a:rPr>
              <a:t>Give your apps a human side</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781580" y="3852422"/>
            <a:ext cx="2815845" cy="2117116"/>
          </a:xfrm>
          <a:prstGeom prst="rect">
            <a:avLst/>
          </a:prstGeom>
          <a:noFill/>
        </p:spPr>
        <p:txBody>
          <a:bodyPr wrap="square" lIns="179208" tIns="143367" rIns="179208" bIns="143367" rtlCol="0" anchor="t">
            <a:spAutoFit/>
          </a:bodyPr>
          <a:lstStyle/>
          <a:p>
            <a:pPr algn="ctr" defTabSz="895870">
              <a:lnSpc>
                <a:spcPct val="90000"/>
              </a:lnSpc>
              <a:spcAft>
                <a:spcPts val="588"/>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alyze text to extract</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user feeling and intent.</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tract knowledge from existing sources and use it to seed chat bots.</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e between 60+ languages and growing.</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0180" y="2818463"/>
            <a:ext cx="1138644" cy="1142838"/>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7504051" y="3852422"/>
            <a:ext cx="2070945" cy="1396367"/>
          </a:xfrm>
          <a:prstGeom prst="rect">
            <a:avLst/>
          </a:prstGeom>
          <a:noFill/>
        </p:spPr>
        <p:txBody>
          <a:bodyPr wrap="square" lIns="179208" tIns="143367" rIns="179208" bIns="143367" rtlCol="0" anchor="t">
            <a:spAutoFit/>
          </a:bodyPr>
          <a:lstStyle/>
          <a:p>
            <a:pPr algn="ctr" defTabSz="895870">
              <a:lnSpc>
                <a:spcPct val="90000"/>
              </a:lnSpc>
              <a:spcAft>
                <a:spcPts val="588"/>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85655" y="2818463"/>
            <a:ext cx="1138644" cy="1142838"/>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588243" y="3852422"/>
            <a:ext cx="2255766" cy="1661760"/>
          </a:xfrm>
          <a:prstGeom prst="rect">
            <a:avLst/>
          </a:prstGeom>
          <a:noFill/>
        </p:spPr>
        <p:txBody>
          <a:bodyPr wrap="square" lIns="179208" tIns="143367" rIns="89630" bIns="143367" rtlCol="0" anchor="t">
            <a:spAutoFit/>
          </a:bodyPr>
          <a:lstStyle/>
          <a:p>
            <a:pPr algn="ctr" defTabSz="895870">
              <a:lnSpc>
                <a:spcPct val="90000"/>
              </a:lnSpc>
              <a:spcAft>
                <a:spcPts val="588"/>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 to and hear your users, compensating for environmental noise.</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Use with </a:t>
            </a:r>
            <a:r>
              <a:rPr lang="en-US" sz="137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for max results.</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3151182" y="2818463"/>
            <a:ext cx="1138460" cy="1142838"/>
          </a:xfrm>
          <a:prstGeom prst="ellipse">
            <a:avLst/>
          </a:prstGeom>
        </p:spPr>
      </p:pic>
      <p:sp>
        <p:nvSpPr>
          <p:cNvPr id="14" name="TextBox 13">
            <a:extLst>
              <a:ext uri="{FF2B5EF4-FFF2-40B4-BE49-F238E27FC236}">
                <a16:creationId xmlns:a16="http://schemas.microsoft.com/office/drawing/2014/main" id="{CF53535E-B5FC-4B57-93AF-3F4C448298EE}"/>
              </a:ext>
            </a:extLst>
          </p:cNvPr>
          <p:cNvSpPr txBox="1"/>
          <p:nvPr/>
        </p:nvSpPr>
        <p:spPr>
          <a:xfrm>
            <a:off x="218735" y="3852422"/>
            <a:ext cx="2255766" cy="1396367"/>
          </a:xfrm>
          <a:prstGeom prst="rect">
            <a:avLst/>
          </a:prstGeom>
          <a:noFill/>
        </p:spPr>
        <p:txBody>
          <a:bodyPr wrap="square" lIns="179208" tIns="143367" rIns="179208" bIns="143367" rtlCol="0" anchor="t">
            <a:spAutoFit/>
          </a:bodyPr>
          <a:lstStyle/>
          <a:p>
            <a:pPr algn="ctr" defTabSz="895870">
              <a:lnSpc>
                <a:spcPct val="90000"/>
              </a:lnSpc>
              <a:spcAft>
                <a:spcPts val="588"/>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rom objects to faces and feelings, enable your apps to analyze</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till images and video.</a:t>
            </a:r>
          </a:p>
        </p:txBody>
      </p:sp>
      <p:pic>
        <p:nvPicPr>
          <p:cNvPr id="16" name="Picture 15">
            <a:extLst>
              <a:ext uri="{FF2B5EF4-FFF2-40B4-BE49-F238E27FC236}">
                <a16:creationId xmlns:a16="http://schemas.microsoft.com/office/drawing/2014/main" id="{6DB523AA-37D5-474E-A1DD-8E5B441DB7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3567" y="2818463"/>
            <a:ext cx="1138644" cy="1142838"/>
          </a:xfrm>
          <a:prstGeom prst="ellipse">
            <a:avLst/>
          </a:prstGeom>
        </p:spPr>
      </p:pic>
      <p:sp>
        <p:nvSpPr>
          <p:cNvPr id="15" name="Oval 14">
            <a:extLst>
              <a:ext uri="{FF2B5EF4-FFF2-40B4-BE49-F238E27FC236}">
                <a16:creationId xmlns:a16="http://schemas.microsoft.com/office/drawing/2014/main" id="{FF8550D4-4498-4CE8-B1FE-DBB2CA97275E}"/>
              </a:ext>
            </a:extLst>
          </p:cNvPr>
          <p:cNvSpPr/>
          <p:nvPr/>
        </p:nvSpPr>
        <p:spPr bwMode="auto">
          <a:xfrm>
            <a:off x="10293563" y="2818463"/>
            <a:ext cx="1138460" cy="1142838"/>
          </a:xfrm>
          <a:prstGeom prst="ellipse">
            <a:avLst/>
          </a:prstGeom>
          <a:solidFill>
            <a:schemeClr val="bg1"/>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cs typeface="Segoe UI" pitchFamily="34" charset="0"/>
            </a:endParaRPr>
          </a:p>
        </p:txBody>
      </p:sp>
      <p:pic>
        <p:nvPicPr>
          <p:cNvPr id="18" name="Picture 17">
            <a:extLst>
              <a:ext uri="{FF2B5EF4-FFF2-40B4-BE49-F238E27FC236}">
                <a16:creationId xmlns:a16="http://schemas.microsoft.com/office/drawing/2014/main" id="{A45CC529-B7FA-4F2B-9407-2A4800B1AF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77165" y="3057154"/>
            <a:ext cx="660256" cy="665456"/>
          </a:xfrm>
          <a:prstGeom prst="rect">
            <a:avLst/>
          </a:prstGeom>
        </p:spPr>
      </p:pic>
      <p:sp>
        <p:nvSpPr>
          <p:cNvPr id="20" name="TextBox 19">
            <a:extLst>
              <a:ext uri="{FF2B5EF4-FFF2-40B4-BE49-F238E27FC236}">
                <a16:creationId xmlns:a16="http://schemas.microsoft.com/office/drawing/2014/main" id="{114588C2-F5ED-4DE2-824F-6C50B460412F}"/>
              </a:ext>
            </a:extLst>
          </p:cNvPr>
          <p:cNvSpPr txBox="1"/>
          <p:nvPr/>
        </p:nvSpPr>
        <p:spPr>
          <a:xfrm>
            <a:off x="9744229" y="3852421"/>
            <a:ext cx="2237127" cy="1586329"/>
          </a:xfrm>
          <a:prstGeom prst="rect">
            <a:avLst/>
          </a:prstGeom>
          <a:noFill/>
        </p:spPr>
        <p:txBody>
          <a:bodyPr wrap="square" lIns="179208" tIns="143367" rIns="179208" bIns="143367" rtlCol="0" anchor="t">
            <a:spAutoFit/>
          </a:bodyPr>
          <a:lstStyle/>
          <a:p>
            <a:pPr algn="ctr" defTabSz="895870">
              <a:lnSpc>
                <a:spcPct val="90000"/>
              </a:lnSpc>
              <a:spcAft>
                <a:spcPts val="588"/>
              </a:spcAft>
              <a:defRPr/>
            </a:pPr>
            <a:r>
              <a:rPr lang="en-US" sz="1961"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a:p>
            <a:pPr algn="ctr" defTabSz="895870">
              <a:lnSpc>
                <a:spcPct val="90000"/>
              </a:lnSpc>
              <a:spcAft>
                <a:spcPts val="588"/>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eview the newest capabilities from analyzing time series to personalization over reinforcement learning.</a:t>
            </a:r>
          </a:p>
        </p:txBody>
      </p:sp>
    </p:spTree>
    <p:extLst>
      <p:ext uri="{BB962C8B-B14F-4D97-AF65-F5344CB8AC3E}">
        <p14:creationId xmlns:p14="http://schemas.microsoft.com/office/powerpoint/2010/main" val="287982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4535E8-F27B-4C84-B779-E5BA1130D620}"/>
              </a:ext>
            </a:extLst>
          </p:cNvPr>
          <p:cNvPicPr>
            <a:picLocks noChangeAspect="1"/>
          </p:cNvPicPr>
          <p:nvPr/>
        </p:nvPicPr>
        <p:blipFill>
          <a:blip r:embed="rId3"/>
          <a:stretch>
            <a:fillRect/>
          </a:stretch>
        </p:blipFill>
        <p:spPr>
          <a:xfrm>
            <a:off x="7370862" y="4482528"/>
            <a:ext cx="2681124" cy="1917851"/>
          </a:xfrm>
          <a:prstGeom prst="rect">
            <a:avLst/>
          </a:prstGeom>
        </p:spPr>
      </p:pic>
      <p:sp>
        <p:nvSpPr>
          <p:cNvPr id="2" name="Rectangle 1">
            <a:extLst>
              <a:ext uri="{FF2B5EF4-FFF2-40B4-BE49-F238E27FC236}">
                <a16:creationId xmlns:a16="http://schemas.microsoft.com/office/drawing/2014/main" id="{301C8C0C-0053-42AB-B945-6B975B481DCF}"/>
              </a:ext>
            </a:extLst>
          </p:cNvPr>
          <p:cNvSpPr/>
          <p:nvPr/>
        </p:nvSpPr>
        <p:spPr>
          <a:xfrm>
            <a:off x="589044" y="1882189"/>
            <a:ext cx="10800974" cy="3846661"/>
          </a:xfrm>
          <a:prstGeom prst="rect">
            <a:avLst/>
          </a:prstGeom>
        </p:spPr>
        <p:txBody>
          <a:bodyPr wrap="square">
            <a:spAutoFit/>
          </a:bodyPr>
          <a:lstStyle/>
          <a:p>
            <a:pPr defTabSz="914139"/>
            <a:r>
              <a:rPr lang="en-US" sz="1961" b="1">
                <a:solidFill>
                  <a:srgbClr val="3F3F3F"/>
                </a:solidFill>
                <a:latin typeface="&amp;quot"/>
              </a:rPr>
              <a:t>Face Detection</a:t>
            </a:r>
          </a:p>
          <a:p>
            <a:pPr defTabSz="914139"/>
            <a:r>
              <a:rPr lang="en-US" sz="1765">
                <a:solidFill>
                  <a:srgbClr val="3F3F3F"/>
                </a:solidFill>
                <a:latin typeface="Segoe UI"/>
              </a:rPr>
              <a:t>Face API detects up to 64 human faces with high precision face location in an image. And the image can be specified by file in bytes or valid URL.</a:t>
            </a:r>
          </a:p>
          <a:p>
            <a:pPr defTabSz="914139"/>
            <a:endParaRPr lang="en-US" sz="1961" b="1">
              <a:solidFill>
                <a:srgbClr val="3F3F3F"/>
              </a:solidFill>
              <a:latin typeface="&amp;quot"/>
            </a:endParaRPr>
          </a:p>
          <a:p>
            <a:pPr defTabSz="914139"/>
            <a:r>
              <a:rPr lang="en-US" sz="1961" b="1">
                <a:solidFill>
                  <a:srgbClr val="3F3F3F"/>
                </a:solidFill>
                <a:latin typeface="Segoe UI"/>
              </a:rPr>
              <a:t>Face Recognition</a:t>
            </a:r>
          </a:p>
          <a:p>
            <a:pPr defTabSz="914139"/>
            <a:r>
              <a:rPr lang="en-US" sz="1765">
                <a:solidFill>
                  <a:srgbClr val="3F3F3F"/>
                </a:solidFill>
                <a:latin typeface="Segoe UI"/>
              </a:rPr>
              <a:t>Face recognition is widely used in many scenarios including security, natural user interface, image content analysis and management, mobile apps, and robotics. Four face recognition functions are provided: face verification, finding similar faces, face grouping, and person identification.</a:t>
            </a:r>
          </a:p>
          <a:p>
            <a:pPr defTabSz="914139"/>
            <a:endParaRPr lang="en-US" sz="1961" b="1">
              <a:solidFill>
                <a:srgbClr val="3F3F3F"/>
              </a:solidFill>
              <a:latin typeface="&amp;quot"/>
            </a:endParaRPr>
          </a:p>
          <a:p>
            <a:pPr defTabSz="914139"/>
            <a:r>
              <a:rPr lang="en-US" sz="1961" b="1">
                <a:solidFill>
                  <a:srgbClr val="3F3F3F"/>
                </a:solidFill>
                <a:latin typeface="&amp;quot"/>
              </a:rPr>
              <a:t>Key features:</a:t>
            </a:r>
          </a:p>
          <a:p>
            <a:pPr marL="230276" indent="-230276" defTabSz="914139" fontAlgn="base">
              <a:buFont typeface="Arial" panose="020B0604020202020204" pitchFamily="34" charset="0"/>
              <a:buChar char="•"/>
            </a:pPr>
            <a:r>
              <a:rPr lang="en-US" sz="1765">
                <a:solidFill>
                  <a:srgbClr val="3F3F3F"/>
                </a:solidFill>
                <a:latin typeface="&amp;quot"/>
              </a:rPr>
              <a:t>Detect human faces and compare similar ones</a:t>
            </a:r>
          </a:p>
          <a:p>
            <a:pPr marL="230276" indent="-230276" defTabSz="914139" fontAlgn="base">
              <a:buFont typeface="Arial" panose="020B0604020202020204" pitchFamily="34" charset="0"/>
              <a:buChar char="•"/>
            </a:pPr>
            <a:r>
              <a:rPr lang="en-US" sz="1765">
                <a:solidFill>
                  <a:srgbClr val="3F3F3F"/>
                </a:solidFill>
                <a:latin typeface="&amp;quot"/>
              </a:rPr>
              <a:t>Organize images into groups based on similarity</a:t>
            </a:r>
          </a:p>
          <a:p>
            <a:pPr marL="230276" indent="-230276" defTabSz="914139" fontAlgn="base">
              <a:buFont typeface="Arial" panose="020B0604020202020204" pitchFamily="34" charset="0"/>
              <a:buChar char="•"/>
            </a:pPr>
            <a:r>
              <a:rPr lang="en-US" sz="1765">
                <a:solidFill>
                  <a:srgbClr val="3F3F3F"/>
                </a:solidFill>
                <a:latin typeface="&amp;quot"/>
              </a:rPr>
              <a:t>Identify previously tagged people in images</a:t>
            </a:r>
          </a:p>
        </p:txBody>
      </p:sp>
      <p:sp>
        <p:nvSpPr>
          <p:cNvPr id="3" name="Title 2">
            <a:extLst>
              <a:ext uri="{FF2B5EF4-FFF2-40B4-BE49-F238E27FC236}">
                <a16:creationId xmlns:a16="http://schemas.microsoft.com/office/drawing/2014/main" id="{9021A342-49E3-4811-8679-6B2CDCA4ECA7}"/>
              </a:ext>
            </a:extLst>
          </p:cNvPr>
          <p:cNvSpPr>
            <a:spLocks noGrp="1"/>
          </p:cNvSpPr>
          <p:nvPr>
            <p:ph type="title"/>
          </p:nvPr>
        </p:nvSpPr>
        <p:spPr/>
        <p:txBody>
          <a:bodyPr/>
          <a:lstStyle/>
          <a:p>
            <a:pPr defTabSz="895698">
              <a:spcBef>
                <a:spcPts val="0"/>
              </a:spcBef>
              <a:defRPr/>
            </a:pPr>
            <a:r>
              <a:rPr lang="en-US" spc="-100">
                <a:solidFill>
                  <a:srgbClr val="1A1A1A"/>
                </a:solidFill>
                <a:latin typeface="Segoe UI" panose="020B0502040204020203" pitchFamily="34" charset="0"/>
                <a:cs typeface="Segoe UI" panose="020B0502040204020203" pitchFamily="34" charset="0"/>
              </a:rPr>
              <a:t>Vision – Face</a:t>
            </a:r>
            <a:br>
              <a:rPr lang="en-US" altLang="en-US" sz="4312">
                <a:gradFill>
                  <a:gsLst>
                    <a:gs pos="12727">
                      <a:srgbClr val="FFFFFF"/>
                    </a:gs>
                    <a:gs pos="52000">
                      <a:srgbClr val="FFFFFF"/>
                    </a:gs>
                  </a:gsLst>
                  <a:lin ang="10800000" scaled="0"/>
                </a:gradFill>
                <a:latin typeface="Segoe UI Light"/>
                <a:cs typeface="+mn-cs"/>
              </a:rPr>
            </a:br>
            <a:r>
              <a:rPr lang="en-US" altLang="en-US" sz="2000">
                <a:solidFill>
                  <a:srgbClr val="1A1A1A"/>
                </a:solidFill>
                <a:latin typeface="+mn-lt"/>
              </a:rPr>
              <a:t>A</a:t>
            </a:r>
            <a:r>
              <a:rPr lang="en-US" sz="2000" spc="-100">
                <a:solidFill>
                  <a:srgbClr val="1A1A1A"/>
                </a:solidFill>
                <a:latin typeface="+mn-lt"/>
                <a:cs typeface="Segoe UI Semibold" panose="020B0702040204020203" pitchFamily="34" charset="0"/>
              </a:rPr>
              <a:t>zure Cognitive Services</a:t>
            </a:r>
            <a:endParaRPr lang="en-US" sz="2000">
              <a:latin typeface="+mn-lt"/>
            </a:endParaRPr>
          </a:p>
        </p:txBody>
      </p:sp>
    </p:spTree>
    <p:extLst>
      <p:ext uri="{BB962C8B-B14F-4D97-AF65-F5344CB8AC3E}">
        <p14:creationId xmlns:p14="http://schemas.microsoft.com/office/powerpoint/2010/main" val="1242126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35377D71-26FC-43DA-96EC-02EDC48452E2}"/>
              </a:ext>
            </a:extLst>
          </p:cNvPr>
          <p:cNvSpPr txBox="1"/>
          <p:nvPr/>
        </p:nvSpPr>
        <p:spPr>
          <a:xfrm>
            <a:off x="499885" y="2082713"/>
            <a:ext cx="9600131" cy="561067"/>
          </a:xfrm>
          <a:prstGeom prst="rect">
            <a:avLst/>
          </a:prstGeom>
          <a:noFill/>
        </p:spPr>
        <p:txBody>
          <a:bodyPr wrap="square" lIns="179183" tIns="143347" rIns="179183" bIns="143347" rtlCol="0" anchor="t">
            <a:spAutoFit/>
          </a:bodyPr>
          <a:lstStyle/>
          <a:p>
            <a:pPr defTabSz="913963">
              <a:spcAft>
                <a:spcPts val="1400"/>
              </a:spcAft>
              <a:defRPr/>
            </a:pPr>
            <a:r>
              <a:rPr lang="en-US" sz="1765">
                <a:solidFill>
                  <a:srgbClr val="3F3F3F"/>
                </a:solidFill>
                <a:latin typeface="Segoe UI" panose="020B0502040204020203" pitchFamily="34" charset="0"/>
                <a:cs typeface="Segoe UI" panose="020B0502040204020203" pitchFamily="34" charset="0"/>
              </a:rPr>
              <a:t>Extract insights from customer feedback and social network postings. </a:t>
            </a:r>
            <a:endParaRPr lang="en-US" sz="1961"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pic>
        <p:nvPicPr>
          <p:cNvPr id="2" name="Picture 1">
            <a:extLst>
              <a:ext uri="{FF2B5EF4-FFF2-40B4-BE49-F238E27FC236}">
                <a16:creationId xmlns:a16="http://schemas.microsoft.com/office/drawing/2014/main" id="{9AF7E8B5-2E1D-46A8-8E48-CB71032A98A8}"/>
              </a:ext>
            </a:extLst>
          </p:cNvPr>
          <p:cNvPicPr>
            <a:picLocks noChangeAspect="1"/>
          </p:cNvPicPr>
          <p:nvPr/>
        </p:nvPicPr>
        <p:blipFill>
          <a:blip r:embed="rId3"/>
          <a:stretch>
            <a:fillRect/>
          </a:stretch>
        </p:blipFill>
        <p:spPr>
          <a:xfrm>
            <a:off x="4846246" y="3340521"/>
            <a:ext cx="5373276" cy="2234341"/>
          </a:xfrm>
          <a:prstGeom prst="rect">
            <a:avLst/>
          </a:prstGeom>
        </p:spPr>
      </p:pic>
      <p:sp>
        <p:nvSpPr>
          <p:cNvPr id="5" name="Rectangle 4">
            <a:extLst>
              <a:ext uri="{FF2B5EF4-FFF2-40B4-BE49-F238E27FC236}">
                <a16:creationId xmlns:a16="http://schemas.microsoft.com/office/drawing/2014/main" id="{4C2E9CE0-9082-4C21-977D-651F83F7F7C4}"/>
              </a:ext>
            </a:extLst>
          </p:cNvPr>
          <p:cNvSpPr/>
          <p:nvPr/>
        </p:nvSpPr>
        <p:spPr>
          <a:xfrm>
            <a:off x="684343" y="3332786"/>
            <a:ext cx="3186173" cy="522890"/>
          </a:xfrm>
          <a:prstGeom prst="rect">
            <a:avLst/>
          </a:prstGeom>
          <a:solidFill>
            <a:schemeClr val="bg2">
              <a:lumMod val="95000"/>
            </a:schemeClr>
          </a:solidFill>
        </p:spPr>
        <p:txBody>
          <a:bodyPr wrap="square">
            <a:spAutoFit/>
          </a:bodyPr>
          <a:lstStyle/>
          <a:p>
            <a:pPr marL="115139" defTabSz="914139"/>
            <a:r>
              <a:rPr lang="en-US" sz="1371">
                <a:solidFill>
                  <a:srgbClr val="3F3F3F"/>
                </a:solidFill>
                <a:latin typeface="Segoe UI"/>
              </a:rPr>
              <a:t>I had a wonderful trip to Seattle and</a:t>
            </a:r>
            <a:br>
              <a:rPr lang="en-US" sz="1371">
                <a:solidFill>
                  <a:srgbClr val="3F3F3F"/>
                </a:solidFill>
                <a:latin typeface="Segoe UI"/>
              </a:rPr>
            </a:br>
            <a:r>
              <a:rPr lang="en-US" sz="1371">
                <a:solidFill>
                  <a:srgbClr val="3F3F3F"/>
                </a:solidFill>
                <a:latin typeface="Segoe UI"/>
              </a:rPr>
              <a:t>enjoyed seeing the Space Needle!</a:t>
            </a:r>
          </a:p>
        </p:txBody>
      </p:sp>
      <p:sp>
        <p:nvSpPr>
          <p:cNvPr id="6" name="Arrow: Chevron 5">
            <a:extLst>
              <a:ext uri="{FF2B5EF4-FFF2-40B4-BE49-F238E27FC236}">
                <a16:creationId xmlns:a16="http://schemas.microsoft.com/office/drawing/2014/main" id="{A42C795E-1EAC-406D-BFAF-4897BCDA6C88}"/>
              </a:ext>
            </a:extLst>
          </p:cNvPr>
          <p:cNvSpPr/>
          <p:nvPr/>
        </p:nvSpPr>
        <p:spPr bwMode="auto">
          <a:xfrm>
            <a:off x="4162924" y="3423676"/>
            <a:ext cx="371323" cy="332910"/>
          </a:xfrm>
          <a:prstGeom prst="chevron">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ECBB78D-8924-489F-9496-CE1F4DB8FF09}"/>
              </a:ext>
            </a:extLst>
          </p:cNvPr>
          <p:cNvSpPr/>
          <p:nvPr/>
        </p:nvSpPr>
        <p:spPr>
          <a:xfrm>
            <a:off x="684344" y="5826873"/>
            <a:ext cx="10267853" cy="362072"/>
          </a:xfrm>
          <a:prstGeom prst="rect">
            <a:avLst/>
          </a:prstGeom>
        </p:spPr>
        <p:txBody>
          <a:bodyPr wrap="square">
            <a:spAutoFit/>
          </a:bodyPr>
          <a:lstStyle/>
          <a:p>
            <a:pPr marL="280067" indent="-280067" defTabSz="913963">
              <a:spcAft>
                <a:spcPts val="1400"/>
              </a:spcAft>
              <a:buFont typeface="Arial" panose="020B0604020202020204" pitchFamily="34" charset="0"/>
              <a:buChar char="•"/>
              <a:defRPr/>
            </a:pPr>
            <a:r>
              <a:rPr lang="en-US" sz="1765">
                <a:solidFill>
                  <a:srgbClr val="3F3F3F"/>
                </a:solidFill>
                <a:latin typeface="Segoe UI" panose="020B0502040204020203" pitchFamily="34" charset="0"/>
                <a:cs typeface="Segoe UI" panose="020B0502040204020203" pitchFamily="34" charset="0"/>
              </a:rPr>
              <a:t>submit up to 100 calls per minute, each with up to 1,000 documents of up to 5,000 characters each </a:t>
            </a:r>
            <a:r>
              <a:rPr lang="en-US" sz="1765" b="1">
                <a:solidFill>
                  <a:srgbClr val="3F3F3F"/>
                </a:solidFill>
                <a:latin typeface="Segoe UI" panose="020B0502040204020203" pitchFamily="34" charset="0"/>
                <a:cs typeface="Segoe UI" panose="020B0502040204020203" pitchFamily="34" charset="0"/>
              </a:rPr>
              <a:t> </a:t>
            </a:r>
          </a:p>
        </p:txBody>
      </p:sp>
      <p:sp>
        <p:nvSpPr>
          <p:cNvPr id="3" name="Rectangle 2">
            <a:extLst>
              <a:ext uri="{FF2B5EF4-FFF2-40B4-BE49-F238E27FC236}">
                <a16:creationId xmlns:a16="http://schemas.microsoft.com/office/drawing/2014/main" id="{D7D6BA7F-F3BC-43A2-A99E-6A304154EDD3}"/>
              </a:ext>
            </a:extLst>
          </p:cNvPr>
          <p:cNvSpPr/>
          <p:nvPr/>
        </p:nvSpPr>
        <p:spPr>
          <a:xfrm>
            <a:off x="10190343" y="5110148"/>
            <a:ext cx="2000792" cy="461342"/>
          </a:xfrm>
          <a:prstGeom prst="rect">
            <a:avLst/>
          </a:prstGeom>
        </p:spPr>
        <p:txBody>
          <a:bodyPr wrap="square">
            <a:spAutoFit/>
          </a:bodyPr>
          <a:lstStyle/>
          <a:p>
            <a:pPr defTabSz="914139"/>
            <a:r>
              <a:rPr lang="en-US" sz="1175">
                <a:solidFill>
                  <a:srgbClr val="3F3F3F"/>
                </a:solidFill>
                <a:latin typeface="Segoe UI" panose="020B0502040204020203" pitchFamily="34" charset="0"/>
                <a:cs typeface="Segoe UI" panose="020B0502040204020203" pitchFamily="34" charset="0"/>
              </a:rPr>
              <a:t>Links backed by Wikipedia in select languages</a:t>
            </a:r>
            <a:endParaRPr lang="en-US" sz="1175">
              <a:solidFill>
                <a:srgbClr val="3F3F3F"/>
              </a:solidFill>
              <a:latin typeface="Segoe UI"/>
            </a:endParaRPr>
          </a:p>
        </p:txBody>
      </p:sp>
      <p:sp>
        <p:nvSpPr>
          <p:cNvPr id="7" name="Title 6">
            <a:extLst>
              <a:ext uri="{FF2B5EF4-FFF2-40B4-BE49-F238E27FC236}">
                <a16:creationId xmlns:a16="http://schemas.microsoft.com/office/drawing/2014/main" id="{D3CDB9E3-B379-4F9C-A6BA-03A5C5886050}"/>
              </a:ext>
            </a:extLst>
          </p:cNvPr>
          <p:cNvSpPr>
            <a:spLocks noGrp="1"/>
          </p:cNvSpPr>
          <p:nvPr>
            <p:ph type="title"/>
          </p:nvPr>
        </p:nvSpPr>
        <p:spPr/>
        <p:txBody>
          <a:bodyPr/>
          <a:lstStyle/>
          <a:p>
            <a:r>
              <a:rPr lang="en-US">
                <a:latin typeface="+mn-lt"/>
              </a:rPr>
              <a:t>Text Analytics</a:t>
            </a:r>
            <a:br>
              <a:rPr lang="en-US"/>
            </a:br>
            <a:r>
              <a:rPr lang="en-US" sz="2000">
                <a:solidFill>
                  <a:srgbClr val="1A1A1A"/>
                </a:solidFill>
                <a:latin typeface="Segoe UI"/>
              </a:rPr>
              <a:t>Azure C</a:t>
            </a:r>
            <a:r>
              <a:rPr lang="en-US" sz="2000" spc="-100">
                <a:solidFill>
                  <a:srgbClr val="1A1A1A"/>
                </a:solidFill>
                <a:latin typeface="Segoe UI"/>
                <a:cs typeface="Segoe UI Semibold" panose="020B0702040204020203" pitchFamily="34" charset="0"/>
              </a:rPr>
              <a:t>ognitive Services</a:t>
            </a:r>
            <a:endParaRPr lang="en-US"/>
          </a:p>
        </p:txBody>
      </p:sp>
    </p:spTree>
    <p:extLst>
      <p:ext uri="{BB962C8B-B14F-4D97-AF65-F5344CB8AC3E}">
        <p14:creationId xmlns:p14="http://schemas.microsoft.com/office/powerpoint/2010/main" val="3712013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CDB9E3-B379-4F9C-A6BA-03A5C5886050}"/>
              </a:ext>
            </a:extLst>
          </p:cNvPr>
          <p:cNvSpPr>
            <a:spLocks noGrp="1"/>
          </p:cNvSpPr>
          <p:nvPr>
            <p:ph type="title"/>
          </p:nvPr>
        </p:nvSpPr>
        <p:spPr/>
        <p:txBody>
          <a:bodyPr/>
          <a:lstStyle/>
          <a:p>
            <a:r>
              <a:rPr lang="en-US" dirty="0">
                <a:latin typeface="+mn-lt"/>
              </a:rPr>
              <a:t>Text Analytics Demo</a:t>
            </a:r>
            <a:br>
              <a:rPr lang="en-US" dirty="0"/>
            </a:br>
            <a:endParaRPr lang="en-US" dirty="0"/>
          </a:p>
        </p:txBody>
      </p:sp>
    </p:spTree>
    <p:extLst>
      <p:ext uri="{BB962C8B-B14F-4D97-AF65-F5344CB8AC3E}">
        <p14:creationId xmlns:p14="http://schemas.microsoft.com/office/powerpoint/2010/main" val="1776238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CDB9E3-B379-4F9C-A6BA-03A5C5886050}"/>
              </a:ext>
            </a:extLst>
          </p:cNvPr>
          <p:cNvSpPr>
            <a:spLocks noGrp="1"/>
          </p:cNvSpPr>
          <p:nvPr>
            <p:ph type="title"/>
          </p:nvPr>
        </p:nvSpPr>
        <p:spPr/>
        <p:txBody>
          <a:bodyPr>
            <a:normAutofit fontScale="90000"/>
          </a:bodyPr>
          <a:lstStyle/>
          <a:p>
            <a:r>
              <a:rPr lang="en-US" dirty="0">
                <a:latin typeface="+mn-lt"/>
              </a:rPr>
              <a:t>Azure ML Studio and Basic Machine Learning and Data Science</a:t>
            </a:r>
            <a:br>
              <a:rPr lang="en-US" dirty="0"/>
            </a:br>
            <a:endParaRPr lang="en-US" dirty="0"/>
          </a:p>
        </p:txBody>
      </p:sp>
    </p:spTree>
    <p:extLst>
      <p:ext uri="{BB962C8B-B14F-4D97-AF65-F5344CB8AC3E}">
        <p14:creationId xmlns:p14="http://schemas.microsoft.com/office/powerpoint/2010/main" val="13847733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8807" y="60722"/>
            <a:ext cx="10515600" cy="1325563"/>
          </a:xfrm>
        </p:spPr>
        <p:txBody>
          <a:bodyPr/>
          <a:lstStyle/>
          <a:p>
            <a:r>
              <a:rPr lang="en-US" dirty="0"/>
              <a:t>Understanding the “Shape” of Data</a:t>
            </a:r>
          </a:p>
        </p:txBody>
      </p:sp>
      <p:sp>
        <p:nvSpPr>
          <p:cNvPr id="3" name="Text Placeholder 2"/>
          <p:cNvSpPr>
            <a:spLocks noGrp="1"/>
          </p:cNvSpPr>
          <p:nvPr>
            <p:ph type="body" sz="quarter" idx="10"/>
          </p:nvPr>
        </p:nvSpPr>
        <p:spPr>
          <a:xfrm>
            <a:off x="758807" y="1692524"/>
            <a:ext cx="7620042" cy="458972"/>
          </a:xfrm>
        </p:spPr>
        <p:txBody>
          <a:bodyPr/>
          <a:lstStyle/>
          <a:p>
            <a:r>
              <a:rPr lang="en-US" dirty="0"/>
              <a:t>Will this loan be charged off?  </a:t>
            </a:r>
          </a:p>
        </p:txBody>
      </p:sp>
      <p:pic>
        <p:nvPicPr>
          <p:cNvPr id="4" name="Picture 3"/>
          <p:cNvPicPr>
            <a:picLocks noChangeAspect="1"/>
          </p:cNvPicPr>
          <p:nvPr/>
        </p:nvPicPr>
        <p:blipFill>
          <a:blip r:embed="rId2"/>
          <a:stretch>
            <a:fillRect/>
          </a:stretch>
        </p:blipFill>
        <p:spPr>
          <a:xfrm>
            <a:off x="44472" y="2457736"/>
            <a:ext cx="11792144" cy="2707739"/>
          </a:xfrm>
          <a:prstGeom prst="rect">
            <a:avLst/>
          </a:prstGeom>
        </p:spPr>
      </p:pic>
    </p:spTree>
    <p:extLst>
      <p:ext uri="{BB962C8B-B14F-4D97-AF65-F5344CB8AC3E}">
        <p14:creationId xmlns:p14="http://schemas.microsoft.com/office/powerpoint/2010/main" val="3785305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OT WHITE TEMPLATE">
  <a:themeElements>
    <a:clrScheme name="IOT FY15 COLORS">
      <a:dk1>
        <a:sysClr val="windowText" lastClr="000000"/>
      </a:dk1>
      <a:lt1>
        <a:sysClr val="window" lastClr="FFFFFF"/>
      </a:lt1>
      <a:dk2>
        <a:srgbClr val="002050"/>
      </a:dk2>
      <a:lt2>
        <a:srgbClr val="F8F8F8"/>
      </a:lt2>
      <a:accent1>
        <a:srgbClr val="0078D7"/>
      </a:accent1>
      <a:accent2>
        <a:srgbClr val="FFB900"/>
      </a:accent2>
      <a:accent3>
        <a:srgbClr val="D83B01"/>
      </a:accent3>
      <a:accent4>
        <a:srgbClr val="5C2D91"/>
      </a:accent4>
      <a:accent5>
        <a:srgbClr val="008272"/>
      </a:accent5>
      <a:accent6>
        <a:srgbClr val="505050"/>
      </a:accent6>
      <a:hlink>
        <a:srgbClr val="5C005C"/>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00836CB-6491-47AF-B934-9207CFE631DB}" vid="{B9DD2023-8C55-4201-8B7F-F2FF6C63F36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f0ebf01c-fc81-4e6f-85bd-3a19871f35b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F890626B0F3E439A7AEEB8DF499E10" ma:contentTypeVersion="14" ma:contentTypeDescription="Create a new document." ma:contentTypeScope="" ma:versionID="6c3d1506b82eb8be5126e2feb6be866e">
  <xsd:schema xmlns:xsd="http://www.w3.org/2001/XMLSchema" xmlns:xs="http://www.w3.org/2001/XMLSchema" xmlns:p="http://schemas.microsoft.com/office/2006/metadata/properties" xmlns:ns2="f0ebf01c-fc81-4e6f-85bd-3a19871f35bf" xmlns:ns3="e21015bd-380d-428e-b5f6-b4a13db6e2be" targetNamespace="http://schemas.microsoft.com/office/2006/metadata/properties" ma:root="true" ma:fieldsID="e94da2fd536b7f56f805582ec5332eaa" ns2:_="" ns3:_="">
    <xsd:import namespace="f0ebf01c-fc81-4e6f-85bd-3a19871f35bf"/>
    <xsd:import namespace="e21015bd-380d-428e-b5f6-b4a13db6e2b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3:LastSharedByUser" minOccurs="0"/>
                <xsd:element ref="ns3:LastSharedByTime" minOccurs="0"/>
                <xsd:element ref="ns2:MediaServiceOCR"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ebf01c-fc81-4e6f-85bd-3a19871f35b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fals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1015bd-380d-428e-b5f6-b4a13db6e2be"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element name="LastSharedByUser" ma:index="15" nillable="true" ma:displayName="Last Shared By User" ma:description="" ma:hidden="true" ma:internalName="LastSharedByUser" ma:readOnly="true">
      <xsd:simpleType>
        <xsd:restriction base="dms:Note"/>
      </xsd:simpleType>
    </xsd:element>
    <xsd:element name="LastSharedByTime" ma:index="16"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7E2CDC-5CB6-49EF-8C17-540D2D12341C}">
  <ds:schemaRefs>
    <ds:schemaRef ds:uri="http://schemas.microsoft.com/office/2006/metadata/properties"/>
    <ds:schemaRef ds:uri="http://schemas.microsoft.com/office/infopath/2007/PartnerControls"/>
    <ds:schemaRef ds:uri="f0ebf01c-fc81-4e6f-85bd-3a19871f35bf"/>
  </ds:schemaRefs>
</ds:datastoreItem>
</file>

<file path=customXml/itemProps2.xml><?xml version="1.0" encoding="utf-8"?>
<ds:datastoreItem xmlns:ds="http://schemas.openxmlformats.org/officeDocument/2006/customXml" ds:itemID="{9D2BE12A-81C1-47F3-A6B8-1DCCE70462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ebf01c-fc81-4e6f-85bd-3a19871f35bf"/>
    <ds:schemaRef ds:uri="e21015bd-380d-428e-b5f6-b4a13db6e2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E34E9E-674A-4959-BE98-BD1A1583B1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5</TotalTime>
  <Words>992</Words>
  <Application>Microsoft Office PowerPoint</Application>
  <PresentationFormat>Widescreen</PresentationFormat>
  <Paragraphs>154</Paragraphs>
  <Slides>14</Slides>
  <Notes>13</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Office Theme</vt:lpstr>
      <vt:lpstr>IOT WHITE TEMPLATE</vt:lpstr>
      <vt:lpstr>PowerPoint Presentation</vt:lpstr>
      <vt:lpstr>A Tour of Azure </vt:lpstr>
      <vt:lpstr>PowerPoint Presentation</vt:lpstr>
      <vt:lpstr>PowerPoint Presentation</vt:lpstr>
      <vt:lpstr>Vision – Face Azure Cognitive Services</vt:lpstr>
      <vt:lpstr>Text Analytics Azure Cognitive Services</vt:lpstr>
      <vt:lpstr>Text Analytics Demo </vt:lpstr>
      <vt:lpstr>Azure ML Studio and Basic Machine Learning and Data Science </vt:lpstr>
      <vt:lpstr>Understanding the “Shape” of Data</vt:lpstr>
      <vt:lpstr>Terminology</vt:lpstr>
      <vt:lpstr>Terminology</vt:lpstr>
      <vt:lpstr>Data science questions</vt:lpstr>
      <vt:lpstr>Azure ML</vt:lpstr>
      <vt:lpstr>Azure Machine Learning  – Studi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Wentzel</dc:creator>
  <cp:lastModifiedBy>Dave Wentzel</cp:lastModifiedBy>
  <cp:revision>6</cp:revision>
  <dcterms:created xsi:type="dcterms:W3CDTF">2019-05-02T18:00:23Z</dcterms:created>
  <dcterms:modified xsi:type="dcterms:W3CDTF">2019-05-08T12: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F890626B0F3E439A7AEEB8DF499E10</vt:lpwstr>
  </property>
</Properties>
</file>